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27"/>
  </p:notesMasterIdLst>
  <p:sldIdLst>
    <p:sldId id="312" r:id="rId6"/>
    <p:sldId id="259" r:id="rId7"/>
    <p:sldId id="267" r:id="rId8"/>
    <p:sldId id="300" r:id="rId9"/>
    <p:sldId id="327" r:id="rId10"/>
    <p:sldId id="329" r:id="rId11"/>
    <p:sldId id="325" r:id="rId12"/>
    <p:sldId id="330" r:id="rId13"/>
    <p:sldId id="339" r:id="rId14"/>
    <p:sldId id="340" r:id="rId15"/>
    <p:sldId id="331" r:id="rId16"/>
    <p:sldId id="338" r:id="rId17"/>
    <p:sldId id="332" r:id="rId18"/>
    <p:sldId id="336" r:id="rId19"/>
    <p:sldId id="337" r:id="rId20"/>
    <p:sldId id="333" r:id="rId21"/>
    <p:sldId id="334" r:id="rId22"/>
    <p:sldId id="320" r:id="rId23"/>
    <p:sldId id="264" r:id="rId24"/>
    <p:sldId id="297" r:id="rId25"/>
    <p:sldId id="262" r:id="rId26"/>
  </p:sldIdLst>
  <p:sldSz cx="12192000" cy="6858000"/>
  <p:notesSz cx="6858000" cy="9144000"/>
  <p:custDataLst>
    <p:tags r:id="rId2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EBF664-05BE-4C07-9002-25E92507A60C}" v="12" dt="2020-10-02T05:45:33.312"/>
    <p1510:client id="{9FFCB9B1-151D-4451-9E14-B12457AA2D40}" v="77" dt="2020-10-01T08:06:24.064"/>
    <p1510:client id="{D2EB6066-B630-43BA-B408-C52D2CAED010}" v="19" dt="2020-10-02T05:48:26.637"/>
    <p1510:client id="{D67A9057-3711-4C50-9BFC-7BA2490B7110}" v="12" dt="2020-10-02T09:14:32.133"/>
    <p1510:client id="{D6A783D5-6487-4730-AF54-432CAB4FAF5E}" v="3" dt="2020-10-02T05:43:02.327"/>
    <p1510:client id="{E8D8B61B-6E4A-4A56-95C7-28A48BEA7B42}" v="7" dt="2020-10-02T06:41:45.1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59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xelsson Jenny" userId="S::jenny.axelsson@inera.se::35153831-a041-4e19-963c-026d50be729b" providerId="AD" clId="Web-{9FFCB9B1-151D-4451-9E14-B12457AA2D40}"/>
    <pc:docChg chg="addSld delSld modSld sldOrd">
      <pc:chgData name="Axelsson Jenny" userId="S::jenny.axelsson@inera.se::35153831-a041-4e19-963c-026d50be729b" providerId="AD" clId="Web-{9FFCB9B1-151D-4451-9E14-B12457AA2D40}" dt="2020-10-01T08:06:22.767" v="72" actId="20577"/>
      <pc:docMkLst>
        <pc:docMk/>
      </pc:docMkLst>
      <pc:sldChg chg="delSp modSp">
        <pc:chgData name="Axelsson Jenny" userId="S::jenny.axelsson@inera.se::35153831-a041-4e19-963c-026d50be729b" providerId="AD" clId="Web-{9FFCB9B1-151D-4451-9E14-B12457AA2D40}" dt="2020-10-01T08:06:00.860" v="70" actId="20577"/>
        <pc:sldMkLst>
          <pc:docMk/>
          <pc:sldMk cId="1036871477" sldId="264"/>
        </pc:sldMkLst>
        <pc:spChg chg="mod">
          <ac:chgData name="Axelsson Jenny" userId="S::jenny.axelsson@inera.se::35153831-a041-4e19-963c-026d50be729b" providerId="AD" clId="Web-{9FFCB9B1-151D-4451-9E14-B12457AA2D40}" dt="2020-10-01T08:06:00.860" v="70" actId="20577"/>
          <ac:spMkLst>
            <pc:docMk/>
            <pc:sldMk cId="1036871477" sldId="264"/>
            <ac:spMk id="3" creationId="{3E215758-AD04-4783-8B7A-EA30D128D138}"/>
          </ac:spMkLst>
        </pc:spChg>
        <pc:picChg chg="del">
          <ac:chgData name="Axelsson Jenny" userId="S::jenny.axelsson@inera.se::35153831-a041-4e19-963c-026d50be729b" providerId="AD" clId="Web-{9FFCB9B1-151D-4451-9E14-B12457AA2D40}" dt="2020-10-01T08:05:42.954" v="56"/>
          <ac:picMkLst>
            <pc:docMk/>
            <pc:sldMk cId="1036871477" sldId="264"/>
            <ac:picMk id="5" creationId="{9770DD3B-7684-4963-9E68-7E2FCFF30AF4}"/>
          </ac:picMkLst>
        </pc:picChg>
      </pc:sldChg>
      <pc:sldChg chg="modSp">
        <pc:chgData name="Axelsson Jenny" userId="S::jenny.axelsson@inera.se::35153831-a041-4e19-963c-026d50be729b" providerId="AD" clId="Web-{9FFCB9B1-151D-4451-9E14-B12457AA2D40}" dt="2020-10-01T08:02:55.982" v="16" actId="14100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9FFCB9B1-151D-4451-9E14-B12457AA2D40}" dt="2020-10-01T08:02:55.982" v="16" actId="14100"/>
          <ac:spMkLst>
            <pc:docMk/>
            <pc:sldMk cId="1351546238" sldId="267"/>
            <ac:spMk id="5" creationId="{E66C5368-8331-464F-8C50-5BB97655E8A7}"/>
          </ac:spMkLst>
        </pc:spChg>
      </pc:sldChg>
      <pc:sldChg chg="del">
        <pc:chgData name="Axelsson Jenny" userId="S::jenny.axelsson@inera.se::35153831-a041-4e19-963c-026d50be729b" providerId="AD" clId="Web-{9FFCB9B1-151D-4451-9E14-B12457AA2D40}" dt="2020-10-01T08:04:20.124" v="36"/>
        <pc:sldMkLst>
          <pc:docMk/>
          <pc:sldMk cId="3229524361" sldId="272"/>
        </pc:sldMkLst>
      </pc:sldChg>
      <pc:sldChg chg="modSp">
        <pc:chgData name="Axelsson Jenny" userId="S::jenny.axelsson@inera.se::35153831-a041-4e19-963c-026d50be729b" providerId="AD" clId="Web-{9FFCB9B1-151D-4451-9E14-B12457AA2D40}" dt="2020-10-01T08:03:39.483" v="29" actId="20577"/>
        <pc:sldMkLst>
          <pc:docMk/>
          <pc:sldMk cId="2850266236" sldId="300"/>
        </pc:sldMkLst>
        <pc:spChg chg="mod">
          <ac:chgData name="Axelsson Jenny" userId="S::jenny.axelsson@inera.se::35153831-a041-4e19-963c-026d50be729b" providerId="AD" clId="Web-{9FFCB9B1-151D-4451-9E14-B12457AA2D40}" dt="2020-10-01T08:03:39.483" v="29" actId="20577"/>
          <ac:spMkLst>
            <pc:docMk/>
            <pc:sldMk cId="2850266236" sldId="300"/>
            <ac:spMk id="5" creationId="{E66C5368-8331-464F-8C50-5BB97655E8A7}"/>
          </ac:spMkLst>
        </pc:spChg>
      </pc:sldChg>
      <pc:sldChg chg="ord">
        <pc:chgData name="Axelsson Jenny" userId="S::jenny.axelsson@inera.se::35153831-a041-4e19-963c-026d50be729b" providerId="AD" clId="Web-{9FFCB9B1-151D-4451-9E14-B12457AA2D40}" dt="2020-10-01T08:04:43.312" v="42"/>
        <pc:sldMkLst>
          <pc:docMk/>
          <pc:sldMk cId="4158479537" sldId="320"/>
        </pc:sldMkLst>
      </pc:sldChg>
      <pc:sldChg chg="del">
        <pc:chgData name="Axelsson Jenny" userId="S::jenny.axelsson@inera.se::35153831-a041-4e19-963c-026d50be729b" providerId="AD" clId="Web-{9FFCB9B1-151D-4451-9E14-B12457AA2D40}" dt="2020-10-01T08:03:50.639" v="30"/>
        <pc:sldMkLst>
          <pc:docMk/>
          <pc:sldMk cId="1174869849" sldId="323"/>
        </pc:sldMkLst>
      </pc:sldChg>
      <pc:sldChg chg="modSp">
        <pc:chgData name="Axelsson Jenny" userId="S::jenny.axelsson@inera.se::35153831-a041-4e19-963c-026d50be729b" providerId="AD" clId="Web-{9FFCB9B1-151D-4451-9E14-B12457AA2D40}" dt="2020-10-01T08:06:22.767" v="72" actId="20577"/>
        <pc:sldMkLst>
          <pc:docMk/>
          <pc:sldMk cId="1678635160" sldId="327"/>
        </pc:sldMkLst>
        <pc:spChg chg="mod">
          <ac:chgData name="Axelsson Jenny" userId="S::jenny.axelsson@inera.se::35153831-a041-4e19-963c-026d50be729b" providerId="AD" clId="Web-{9FFCB9B1-151D-4451-9E14-B12457AA2D40}" dt="2020-10-01T08:06:22.767" v="72" actId="20577"/>
          <ac:spMkLst>
            <pc:docMk/>
            <pc:sldMk cId="1678635160" sldId="327"/>
            <ac:spMk id="17" creationId="{F854DF0B-4F01-4048-9FFA-11745AB7CC6A}"/>
          </ac:spMkLst>
        </pc:spChg>
      </pc:sldChg>
      <pc:sldChg chg="del">
        <pc:chgData name="Axelsson Jenny" userId="S::jenny.axelsson@inera.se::35153831-a041-4e19-963c-026d50be729b" providerId="AD" clId="Web-{9FFCB9B1-151D-4451-9E14-B12457AA2D40}" dt="2020-10-01T08:04:17.609" v="35"/>
        <pc:sldMkLst>
          <pc:docMk/>
          <pc:sldMk cId="2794395689" sldId="328"/>
        </pc:sldMkLst>
      </pc:sldChg>
      <pc:sldChg chg="modSp add ord replId">
        <pc:chgData name="Axelsson Jenny" userId="S::jenny.axelsson@inera.se::35153831-a041-4e19-963c-026d50be729b" providerId="AD" clId="Web-{9FFCB9B1-151D-4451-9E14-B12457AA2D40}" dt="2020-10-01T08:04:15.874" v="34" actId="20577"/>
        <pc:sldMkLst>
          <pc:docMk/>
          <pc:sldMk cId="689212502" sldId="329"/>
        </pc:sldMkLst>
        <pc:spChg chg="mod">
          <ac:chgData name="Axelsson Jenny" userId="S::jenny.axelsson@inera.se::35153831-a041-4e19-963c-026d50be729b" providerId="AD" clId="Web-{9FFCB9B1-151D-4451-9E14-B12457AA2D40}" dt="2020-10-01T08:04:15.874" v="34" actId="20577"/>
          <ac:spMkLst>
            <pc:docMk/>
            <pc:sldMk cId="689212502" sldId="329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9FFCB9B1-151D-4451-9E14-B12457AA2D40}" dt="2020-10-01T08:04:57.734" v="43" actId="20577"/>
        <pc:sldMkLst>
          <pc:docMk/>
          <pc:sldMk cId="1273421645" sldId="330"/>
        </pc:sldMkLst>
        <pc:spChg chg="mod">
          <ac:chgData name="Axelsson Jenny" userId="S::jenny.axelsson@inera.se::35153831-a041-4e19-963c-026d50be729b" providerId="AD" clId="Web-{9FFCB9B1-151D-4451-9E14-B12457AA2D40}" dt="2020-10-01T08:04:57.734" v="43" actId="20577"/>
          <ac:spMkLst>
            <pc:docMk/>
            <pc:sldMk cId="1273421645" sldId="330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9FFCB9B1-151D-4451-9E14-B12457AA2D40}" dt="2020-10-01T08:05:05.156" v="45" actId="20577"/>
        <pc:sldMkLst>
          <pc:docMk/>
          <pc:sldMk cId="3309852747" sldId="331"/>
        </pc:sldMkLst>
        <pc:spChg chg="mod">
          <ac:chgData name="Axelsson Jenny" userId="S::jenny.axelsson@inera.se::35153831-a041-4e19-963c-026d50be729b" providerId="AD" clId="Web-{9FFCB9B1-151D-4451-9E14-B12457AA2D40}" dt="2020-10-01T08:05:05.156" v="45" actId="20577"/>
          <ac:spMkLst>
            <pc:docMk/>
            <pc:sldMk cId="3309852747" sldId="331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9FFCB9B1-151D-4451-9E14-B12457AA2D40}" dt="2020-10-01T08:05:14.360" v="47" actId="20577"/>
        <pc:sldMkLst>
          <pc:docMk/>
          <pc:sldMk cId="558397616" sldId="332"/>
        </pc:sldMkLst>
        <pc:spChg chg="mod">
          <ac:chgData name="Axelsson Jenny" userId="S::jenny.axelsson@inera.se::35153831-a041-4e19-963c-026d50be729b" providerId="AD" clId="Web-{9FFCB9B1-151D-4451-9E14-B12457AA2D40}" dt="2020-10-01T08:05:14.360" v="47" actId="20577"/>
          <ac:spMkLst>
            <pc:docMk/>
            <pc:sldMk cId="558397616" sldId="332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9FFCB9B1-151D-4451-9E14-B12457AA2D40}" dt="2020-10-01T08:05:22.360" v="49" actId="20577"/>
        <pc:sldMkLst>
          <pc:docMk/>
          <pc:sldMk cId="2968316719" sldId="333"/>
        </pc:sldMkLst>
        <pc:spChg chg="mod">
          <ac:chgData name="Axelsson Jenny" userId="S::jenny.axelsson@inera.se::35153831-a041-4e19-963c-026d50be729b" providerId="AD" clId="Web-{9FFCB9B1-151D-4451-9E14-B12457AA2D40}" dt="2020-10-01T08:05:22.360" v="49" actId="20577"/>
          <ac:spMkLst>
            <pc:docMk/>
            <pc:sldMk cId="2968316719" sldId="333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9FFCB9B1-151D-4451-9E14-B12457AA2D40}" dt="2020-10-01T08:05:33.032" v="53" actId="20577"/>
        <pc:sldMkLst>
          <pc:docMk/>
          <pc:sldMk cId="506940956" sldId="334"/>
        </pc:sldMkLst>
        <pc:spChg chg="mod">
          <ac:chgData name="Axelsson Jenny" userId="S::jenny.axelsson@inera.se::35153831-a041-4e19-963c-026d50be729b" providerId="AD" clId="Web-{9FFCB9B1-151D-4451-9E14-B12457AA2D40}" dt="2020-10-01T08:05:33.032" v="53" actId="20577"/>
          <ac:spMkLst>
            <pc:docMk/>
            <pc:sldMk cId="506940956" sldId="334"/>
            <ac:spMk id="5" creationId="{E66C5368-8331-464F-8C50-5BB97655E8A7}"/>
          </ac:spMkLst>
        </pc:spChg>
      </pc:sldChg>
    </pc:docChg>
  </pc:docChgLst>
  <pc:docChgLst>
    <pc:chgData name="Axelsson Jenny" userId="S::jenny.axelsson@inera.se::35153831-a041-4e19-963c-026d50be729b" providerId="AD" clId="Web-{FE78FD20-C99F-4159-9092-CBC6556193DC}"/>
    <pc:docChg chg="delSld modSld sldOrd">
      <pc:chgData name="Axelsson Jenny" userId="S::jenny.axelsson@inera.se::35153831-a041-4e19-963c-026d50be729b" providerId="AD" clId="Web-{FE78FD20-C99F-4159-9092-CBC6556193DC}" dt="2020-02-04T14:04:17.313" v="7" actId="20577"/>
      <pc:docMkLst>
        <pc:docMk/>
      </pc:docMkLst>
      <pc:sldChg chg="modSp">
        <pc:chgData name="Axelsson Jenny" userId="S::jenny.axelsson@inera.se::35153831-a041-4e19-963c-026d50be729b" providerId="AD" clId="Web-{FE78FD20-C99F-4159-9092-CBC6556193DC}" dt="2020-02-04T14:04:17.313" v="7" actId="2057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FE78FD20-C99F-4159-9092-CBC6556193DC}" dt="2020-02-04T14:04:17.313" v="7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del ord">
        <pc:chgData name="Axelsson Jenny" userId="S::jenny.axelsson@inera.se::35153831-a041-4e19-963c-026d50be729b" providerId="AD" clId="Web-{FE78FD20-C99F-4159-9092-CBC6556193DC}" dt="2020-02-04T14:04:08.173" v="6"/>
        <pc:sldMkLst>
          <pc:docMk/>
          <pc:sldMk cId="1683595309" sldId="315"/>
        </pc:sldMkLst>
      </pc:sldChg>
      <pc:sldChg chg="del">
        <pc:chgData name="Axelsson Jenny" userId="S::jenny.axelsson@inera.se::35153831-a041-4e19-963c-026d50be729b" providerId="AD" clId="Web-{FE78FD20-C99F-4159-9092-CBC6556193DC}" dt="2020-02-04T14:03:55.735" v="3"/>
        <pc:sldMkLst>
          <pc:docMk/>
          <pc:sldMk cId="2668455938" sldId="316"/>
        </pc:sldMkLst>
      </pc:sldChg>
      <pc:sldChg chg="del">
        <pc:chgData name="Axelsson Jenny" userId="S::jenny.axelsson@inera.se::35153831-a041-4e19-963c-026d50be729b" providerId="AD" clId="Web-{FE78FD20-C99F-4159-9092-CBC6556193DC}" dt="2020-02-04T14:03:51.704" v="0"/>
        <pc:sldMkLst>
          <pc:docMk/>
          <pc:sldMk cId="1087366172" sldId="317"/>
        </pc:sldMkLst>
      </pc:sldChg>
      <pc:sldChg chg="del">
        <pc:chgData name="Axelsson Jenny" userId="S::jenny.axelsson@inera.se::35153831-a041-4e19-963c-026d50be729b" providerId="AD" clId="Web-{FE78FD20-C99F-4159-9092-CBC6556193DC}" dt="2020-02-04T14:03:52.672" v="1"/>
        <pc:sldMkLst>
          <pc:docMk/>
          <pc:sldMk cId="3410182091" sldId="318"/>
        </pc:sldMkLst>
      </pc:sldChg>
      <pc:sldChg chg="del">
        <pc:chgData name="Axelsson Jenny" userId="S::jenny.axelsson@inera.se::35153831-a041-4e19-963c-026d50be729b" providerId="AD" clId="Web-{FE78FD20-C99F-4159-9092-CBC6556193DC}" dt="2020-02-04T14:03:55.547" v="2"/>
        <pc:sldMkLst>
          <pc:docMk/>
          <pc:sldMk cId="2768632427" sldId="321"/>
        </pc:sldMkLst>
      </pc:sldChg>
      <pc:sldChg chg="del">
        <pc:chgData name="Axelsson Jenny" userId="S::jenny.axelsson@inera.se::35153831-a041-4e19-963c-026d50be729b" providerId="AD" clId="Web-{FE78FD20-C99F-4159-9092-CBC6556193DC}" dt="2020-02-04T14:03:55.766" v="4"/>
        <pc:sldMkLst>
          <pc:docMk/>
          <pc:sldMk cId="106689303" sldId="322"/>
        </pc:sldMkLst>
      </pc:sldChg>
    </pc:docChg>
  </pc:docChgLst>
  <pc:docChgLst>
    <pc:chgData name="Axelsson Jenny" userId="35153831-a041-4e19-963c-026d50be729b" providerId="ADAL" clId="{01AB967F-AB43-4754-88E8-9BB312CFD42C}"/>
    <pc:docChg chg="addSld delSld modSld">
      <pc:chgData name="Axelsson Jenny" userId="35153831-a041-4e19-963c-026d50be729b" providerId="ADAL" clId="{01AB967F-AB43-4754-88E8-9BB312CFD42C}" dt="2020-01-20T13:12:58.404" v="141" actId="2696"/>
      <pc:docMkLst>
        <pc:docMk/>
      </pc:docMkLst>
      <pc:sldChg chg="modSp del modNotesTx">
        <pc:chgData name="Axelsson Jenny" userId="35153831-a041-4e19-963c-026d50be729b" providerId="ADAL" clId="{01AB967F-AB43-4754-88E8-9BB312CFD42C}" dt="2020-01-20T13:12:39.252" v="139" actId="2696"/>
        <pc:sldMkLst>
          <pc:docMk/>
          <pc:sldMk cId="3651951432" sldId="268"/>
        </pc:sldMkLst>
        <pc:spChg chg="mod">
          <ac:chgData name="Axelsson Jenny" userId="35153831-a041-4e19-963c-026d50be729b" providerId="ADAL" clId="{01AB967F-AB43-4754-88E8-9BB312CFD42C}" dt="2020-01-20T13:09:38.046" v="136" actId="20577"/>
          <ac:spMkLst>
            <pc:docMk/>
            <pc:sldMk cId="3651951432" sldId="268"/>
            <ac:spMk id="6" creationId="{6586BAA2-D33F-4499-934E-80F08AEC1FB3}"/>
          </ac:spMkLst>
        </pc:spChg>
      </pc:sldChg>
      <pc:sldChg chg="add del">
        <pc:chgData name="Axelsson Jenny" userId="35153831-a041-4e19-963c-026d50be729b" providerId="ADAL" clId="{01AB967F-AB43-4754-88E8-9BB312CFD42C}" dt="2020-01-20T13:12:58.404" v="141" actId="2696"/>
        <pc:sldMkLst>
          <pc:docMk/>
          <pc:sldMk cId="2217266714" sldId="314"/>
        </pc:sldMkLst>
      </pc:sldChg>
      <pc:sldChg chg="add">
        <pc:chgData name="Axelsson Jenny" userId="35153831-a041-4e19-963c-026d50be729b" providerId="ADAL" clId="{01AB967F-AB43-4754-88E8-9BB312CFD42C}" dt="2020-01-20T13:12:55.946" v="140"/>
        <pc:sldMkLst>
          <pc:docMk/>
          <pc:sldMk cId="1683595309" sldId="315"/>
        </pc:sldMkLst>
      </pc:sldChg>
    </pc:docChg>
  </pc:docChgLst>
  <pc:docChgLst>
    <pc:chgData name="Axelsson Jenny" userId="S::jenny.axelsson@inera.se::35153831-a041-4e19-963c-026d50be729b" providerId="AD" clId="Web-{E8D8B61B-6E4A-4A56-95C7-28A48BEA7B42}"/>
    <pc:docChg chg="modSld">
      <pc:chgData name="Axelsson Jenny" userId="S::jenny.axelsson@inera.se::35153831-a041-4e19-963c-026d50be729b" providerId="AD" clId="Web-{E8D8B61B-6E4A-4A56-95C7-28A48BEA7B42}" dt="2020-10-02T06:41:45.126" v="5" actId="14100"/>
      <pc:docMkLst>
        <pc:docMk/>
      </pc:docMkLst>
      <pc:sldChg chg="modSp">
        <pc:chgData name="Axelsson Jenny" userId="S::jenny.axelsson@inera.se::35153831-a041-4e19-963c-026d50be729b" providerId="AD" clId="Web-{E8D8B61B-6E4A-4A56-95C7-28A48BEA7B42}" dt="2020-10-02T06:41:45.126" v="5" actId="14100"/>
        <pc:sldMkLst>
          <pc:docMk/>
          <pc:sldMk cId="1426230132" sldId="340"/>
        </pc:sldMkLst>
        <pc:spChg chg="mod">
          <ac:chgData name="Axelsson Jenny" userId="S::jenny.axelsson@inera.se::35153831-a041-4e19-963c-026d50be729b" providerId="AD" clId="Web-{E8D8B61B-6E4A-4A56-95C7-28A48BEA7B42}" dt="2020-10-02T06:41:45.126" v="5" actId="14100"/>
          <ac:spMkLst>
            <pc:docMk/>
            <pc:sldMk cId="1426230132" sldId="340"/>
            <ac:spMk id="5" creationId="{E66C5368-8331-464F-8C50-5BB97655E8A7}"/>
          </ac:spMkLst>
        </pc:spChg>
      </pc:sldChg>
    </pc:docChg>
  </pc:docChgLst>
  <pc:docChgLst>
    <pc:chgData name="Axelsson Jenny" userId="S::jenny.axelsson@inera.se::35153831-a041-4e19-963c-026d50be729b" providerId="AD" clId="Web-{C8ADAABA-9F08-40D8-AFF4-0682FA231555}"/>
    <pc:docChg chg="addSld modSld">
      <pc:chgData name="Axelsson Jenny" userId="S::jenny.axelsson@inera.se::35153831-a041-4e19-963c-026d50be729b" providerId="AD" clId="Web-{C8ADAABA-9F08-40D8-AFF4-0682FA231555}" dt="2020-09-22T07:39:04.743" v="20" actId="20577"/>
      <pc:docMkLst>
        <pc:docMk/>
      </pc:docMkLst>
      <pc:sldChg chg="modSp">
        <pc:chgData name="Axelsson Jenny" userId="S::jenny.axelsson@inera.se::35153831-a041-4e19-963c-026d50be729b" providerId="AD" clId="Web-{C8ADAABA-9F08-40D8-AFF4-0682FA231555}" dt="2020-09-22T07:38:25.272" v="8" actId="2057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C8ADAABA-9F08-40D8-AFF4-0682FA231555}" dt="2020-09-22T07:38:25.272" v="8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C8ADAABA-9F08-40D8-AFF4-0682FA231555}" dt="2020-09-22T07:39:04.743" v="20" actId="20577"/>
        <pc:sldMkLst>
          <pc:docMk/>
          <pc:sldMk cId="3229524361" sldId="272"/>
        </pc:sldMkLst>
        <pc:spChg chg="mod">
          <ac:chgData name="Axelsson Jenny" userId="S::jenny.axelsson@inera.se::35153831-a041-4e19-963c-026d50be729b" providerId="AD" clId="Web-{C8ADAABA-9F08-40D8-AFF4-0682FA231555}" dt="2020-09-22T07:39:04.743" v="20" actId="20577"/>
          <ac:spMkLst>
            <pc:docMk/>
            <pc:sldMk cId="3229524361" sldId="272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C8ADAABA-9F08-40D8-AFF4-0682FA231555}" dt="2020-09-22T07:38:42.007" v="13" actId="20577"/>
        <pc:sldMkLst>
          <pc:docMk/>
          <pc:sldMk cId="2850266236" sldId="300"/>
        </pc:sldMkLst>
        <pc:spChg chg="mod">
          <ac:chgData name="Axelsson Jenny" userId="S::jenny.axelsson@inera.se::35153831-a041-4e19-963c-026d50be729b" providerId="AD" clId="Web-{C8ADAABA-9F08-40D8-AFF4-0682FA231555}" dt="2020-09-22T07:38:42.007" v="13" actId="20577"/>
          <ac:spMkLst>
            <pc:docMk/>
            <pc:sldMk cId="2850266236" sldId="300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C8ADAABA-9F08-40D8-AFF4-0682FA231555}" dt="2020-09-22T07:38:09.662" v="4" actId="20577"/>
        <pc:sldMkLst>
          <pc:docMk/>
          <pc:sldMk cId="2974578957" sldId="312"/>
        </pc:sldMkLst>
        <pc:spChg chg="mod">
          <ac:chgData name="Axelsson Jenny" userId="S::jenny.axelsson@inera.se::35153831-a041-4e19-963c-026d50be729b" providerId="AD" clId="Web-{C8ADAABA-9F08-40D8-AFF4-0682FA231555}" dt="2020-09-22T07:38:09.662" v="4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modSp add replId">
        <pc:chgData name="Axelsson Jenny" userId="S::jenny.axelsson@inera.se::35153831-a041-4e19-963c-026d50be729b" providerId="AD" clId="Web-{C8ADAABA-9F08-40D8-AFF4-0682FA231555}" dt="2020-09-22T07:38:57.149" v="17" actId="20577"/>
        <pc:sldMkLst>
          <pc:docMk/>
          <pc:sldMk cId="2886419294" sldId="321"/>
        </pc:sldMkLst>
        <pc:spChg chg="mod">
          <ac:chgData name="Axelsson Jenny" userId="S::jenny.axelsson@inera.se::35153831-a041-4e19-963c-026d50be729b" providerId="AD" clId="Web-{C8ADAABA-9F08-40D8-AFF4-0682FA231555}" dt="2020-09-22T07:38:57.149" v="17" actId="20577"/>
          <ac:spMkLst>
            <pc:docMk/>
            <pc:sldMk cId="2886419294" sldId="321"/>
            <ac:spMk id="5" creationId="{E66C5368-8331-464F-8C50-5BB97655E8A7}"/>
          </ac:spMkLst>
        </pc:spChg>
      </pc:sldChg>
    </pc:docChg>
  </pc:docChgLst>
  <pc:docChgLst>
    <pc:chgData name="Jonsson Åsa" userId="S::asa.jonsson@inera.se::e7c157ac-c4f4-446a-aea7-2d9507f60b0e" providerId="AD" clId="Web-{D2EB6066-B630-43BA-B408-C52D2CAED010}"/>
    <pc:docChg chg="modSld">
      <pc:chgData name="Jonsson Åsa" userId="S::asa.jonsson@inera.se::e7c157ac-c4f4-446a-aea7-2d9507f60b0e" providerId="AD" clId="Web-{D2EB6066-B630-43BA-B408-C52D2CAED010}" dt="2020-10-02T05:48:26.637" v="18" actId="20577"/>
      <pc:docMkLst>
        <pc:docMk/>
      </pc:docMkLst>
      <pc:sldChg chg="modSp">
        <pc:chgData name="Jonsson Åsa" userId="S::asa.jonsson@inera.se::e7c157ac-c4f4-446a-aea7-2d9507f60b0e" providerId="AD" clId="Web-{D2EB6066-B630-43BA-B408-C52D2CAED010}" dt="2020-10-02T05:48:26.637" v="18" actId="20577"/>
        <pc:sldMkLst>
          <pc:docMk/>
          <pc:sldMk cId="3536794906" sldId="337"/>
        </pc:sldMkLst>
        <pc:spChg chg="mod">
          <ac:chgData name="Jonsson Åsa" userId="S::asa.jonsson@inera.se::e7c157ac-c4f4-446a-aea7-2d9507f60b0e" providerId="AD" clId="Web-{D2EB6066-B630-43BA-B408-C52D2CAED010}" dt="2020-10-02T05:48:26.637" v="18" actId="20577"/>
          <ac:spMkLst>
            <pc:docMk/>
            <pc:sldMk cId="3536794906" sldId="337"/>
            <ac:spMk id="5" creationId="{E66C5368-8331-464F-8C50-5BB97655E8A7}"/>
          </ac:spMkLst>
        </pc:spChg>
      </pc:sldChg>
    </pc:docChg>
  </pc:docChgLst>
  <pc:docChgLst>
    <pc:chgData name="Jonsson Åsa" userId="e7c157ac-c4f4-446a-aea7-2d9507f60b0e" providerId="ADAL" clId="{98EBF664-05BE-4C07-9002-25E92507A60C}"/>
    <pc:docChg chg="undo custSel addSld delSld modSld sldOrd">
      <pc:chgData name="Jonsson Åsa" userId="e7c157ac-c4f4-446a-aea7-2d9507f60b0e" providerId="ADAL" clId="{98EBF664-05BE-4C07-9002-25E92507A60C}" dt="2020-10-02T05:49:27.258" v="365" actId="6549"/>
      <pc:docMkLst>
        <pc:docMk/>
      </pc:docMkLst>
      <pc:sldChg chg="ord">
        <pc:chgData name="Jonsson Åsa" userId="e7c157ac-c4f4-446a-aea7-2d9507f60b0e" providerId="ADAL" clId="{98EBF664-05BE-4C07-9002-25E92507A60C}" dt="2020-10-02T05:45:33.311" v="364"/>
        <pc:sldMkLst>
          <pc:docMk/>
          <pc:sldMk cId="1273421645" sldId="330"/>
        </pc:sldMkLst>
      </pc:sldChg>
      <pc:sldChg chg="modSp add del">
        <pc:chgData name="Jonsson Åsa" userId="e7c157ac-c4f4-446a-aea7-2d9507f60b0e" providerId="ADAL" clId="{98EBF664-05BE-4C07-9002-25E92507A60C}" dt="2020-10-01T14:11:23.804" v="231" actId="2696"/>
        <pc:sldMkLst>
          <pc:docMk/>
          <pc:sldMk cId="4289676040" sldId="335"/>
        </pc:sldMkLst>
        <pc:spChg chg="mod">
          <ac:chgData name="Jonsson Åsa" userId="e7c157ac-c4f4-446a-aea7-2d9507f60b0e" providerId="ADAL" clId="{98EBF664-05BE-4C07-9002-25E92507A60C}" dt="2020-10-01T14:06:39.383" v="140" actId="12"/>
          <ac:spMkLst>
            <pc:docMk/>
            <pc:sldMk cId="4289676040" sldId="335"/>
            <ac:spMk id="2" creationId="{AA98FE3F-A0D6-4217-A001-64E3F0271346}"/>
          </ac:spMkLst>
        </pc:spChg>
      </pc:sldChg>
      <pc:sldChg chg="modSp add">
        <pc:chgData name="Jonsson Åsa" userId="e7c157ac-c4f4-446a-aea7-2d9507f60b0e" providerId="ADAL" clId="{98EBF664-05BE-4C07-9002-25E92507A60C}" dt="2020-10-01T14:10:44.667" v="230" actId="20577"/>
        <pc:sldMkLst>
          <pc:docMk/>
          <pc:sldMk cId="2762577507" sldId="336"/>
        </pc:sldMkLst>
        <pc:spChg chg="mod">
          <ac:chgData name="Jonsson Åsa" userId="e7c157ac-c4f4-446a-aea7-2d9507f60b0e" providerId="ADAL" clId="{98EBF664-05BE-4C07-9002-25E92507A60C}" dt="2020-10-01T14:08:15.599" v="205" actId="20577"/>
          <ac:spMkLst>
            <pc:docMk/>
            <pc:sldMk cId="2762577507" sldId="336"/>
            <ac:spMk id="2" creationId="{28142FAB-2177-42C2-83A7-B8FCD6F5DAB5}"/>
          </ac:spMkLst>
        </pc:spChg>
        <pc:spChg chg="mod">
          <ac:chgData name="Jonsson Åsa" userId="e7c157ac-c4f4-446a-aea7-2d9507f60b0e" providerId="ADAL" clId="{98EBF664-05BE-4C07-9002-25E92507A60C}" dt="2020-10-01T14:10:44.667" v="230" actId="20577"/>
          <ac:spMkLst>
            <pc:docMk/>
            <pc:sldMk cId="2762577507" sldId="336"/>
            <ac:spMk id="5" creationId="{E66C5368-8331-464F-8C50-5BB97655E8A7}"/>
          </ac:spMkLst>
        </pc:spChg>
      </pc:sldChg>
      <pc:sldChg chg="addSp delSp modSp add">
        <pc:chgData name="Jonsson Åsa" userId="e7c157ac-c4f4-446a-aea7-2d9507f60b0e" providerId="ADAL" clId="{98EBF664-05BE-4C07-9002-25E92507A60C}" dt="2020-10-02T05:49:27.258" v="365" actId="6549"/>
        <pc:sldMkLst>
          <pc:docMk/>
          <pc:sldMk cId="3536794906" sldId="337"/>
        </pc:sldMkLst>
        <pc:spChg chg="mod">
          <ac:chgData name="Jonsson Åsa" userId="e7c157ac-c4f4-446a-aea7-2d9507f60b0e" providerId="ADAL" clId="{98EBF664-05BE-4C07-9002-25E92507A60C}" dt="2020-10-01T14:15:13.387" v="334" actId="255"/>
          <ac:spMkLst>
            <pc:docMk/>
            <pc:sldMk cId="3536794906" sldId="337"/>
            <ac:spMk id="2" creationId="{28142FAB-2177-42C2-83A7-B8FCD6F5DAB5}"/>
          </ac:spMkLst>
        </pc:spChg>
        <pc:spChg chg="mod">
          <ac:chgData name="Jonsson Åsa" userId="e7c157ac-c4f4-446a-aea7-2d9507f60b0e" providerId="ADAL" clId="{98EBF664-05BE-4C07-9002-25E92507A60C}" dt="2020-10-02T05:49:27.258" v="365" actId="6549"/>
          <ac:spMkLst>
            <pc:docMk/>
            <pc:sldMk cId="3536794906" sldId="337"/>
            <ac:spMk id="5" creationId="{E66C5368-8331-464F-8C50-5BB97655E8A7}"/>
          </ac:spMkLst>
        </pc:spChg>
        <pc:graphicFrameChg chg="add del modGraphic">
          <ac:chgData name="Jonsson Åsa" userId="e7c157ac-c4f4-446a-aea7-2d9507f60b0e" providerId="ADAL" clId="{98EBF664-05BE-4C07-9002-25E92507A60C}" dt="2020-10-01T14:16:55.866" v="341" actId="27309"/>
          <ac:graphicFrameMkLst>
            <pc:docMk/>
            <pc:sldMk cId="3536794906" sldId="337"/>
            <ac:graphicFrameMk id="6" creationId="{A4E233F2-64CD-4DE7-89DE-E519521FC53B}"/>
          </ac:graphicFrameMkLst>
        </pc:graphicFrameChg>
      </pc:sldChg>
      <pc:sldChg chg="add del">
        <pc:chgData name="Jonsson Åsa" userId="e7c157ac-c4f4-446a-aea7-2d9507f60b0e" providerId="ADAL" clId="{98EBF664-05BE-4C07-9002-25E92507A60C}" dt="2020-10-01T14:13:06.102" v="237"/>
        <pc:sldMkLst>
          <pc:docMk/>
          <pc:sldMk cId="3848356088" sldId="338"/>
        </pc:sldMkLst>
      </pc:sldChg>
      <pc:sldChg chg="add">
        <pc:chgData name="Jonsson Åsa" userId="e7c157ac-c4f4-446a-aea7-2d9507f60b0e" providerId="ADAL" clId="{98EBF664-05BE-4C07-9002-25E92507A60C}" dt="2020-10-02T05:43:26.955" v="363"/>
        <pc:sldMkLst>
          <pc:docMk/>
          <pc:sldMk cId="49669594" sldId="339"/>
        </pc:sldMkLst>
      </pc:sldChg>
      <pc:sldChg chg="add">
        <pc:chgData name="Jonsson Åsa" userId="e7c157ac-c4f4-446a-aea7-2d9507f60b0e" providerId="ADAL" clId="{98EBF664-05BE-4C07-9002-25E92507A60C}" dt="2020-10-02T05:43:26.955" v="363"/>
        <pc:sldMkLst>
          <pc:docMk/>
          <pc:sldMk cId="1426230132" sldId="340"/>
        </pc:sldMkLst>
      </pc:sldChg>
    </pc:docChg>
  </pc:docChgLst>
  <pc:docChgLst>
    <pc:chgData name="Jonsson Åsa" userId="S::asa.jonsson@inera.se::e7c157ac-c4f4-446a-aea7-2d9507f60b0e" providerId="AD" clId="Web-{D6A783D5-6487-4730-AF54-432CAB4FAF5E}"/>
    <pc:docChg chg="modSld">
      <pc:chgData name="Jonsson Åsa" userId="S::asa.jonsson@inera.se::e7c157ac-c4f4-446a-aea7-2d9507f60b0e" providerId="AD" clId="Web-{D6A783D5-6487-4730-AF54-432CAB4FAF5E}" dt="2020-10-02T05:43:02.327" v="1"/>
      <pc:docMkLst>
        <pc:docMk/>
      </pc:docMkLst>
      <pc:sldChg chg="addSp delSp modSp">
        <pc:chgData name="Jonsson Åsa" userId="S::asa.jonsson@inera.se::e7c157ac-c4f4-446a-aea7-2d9507f60b0e" providerId="AD" clId="Web-{D6A783D5-6487-4730-AF54-432CAB4FAF5E}" dt="2020-10-02T05:43:02.327" v="1"/>
        <pc:sldMkLst>
          <pc:docMk/>
          <pc:sldMk cId="1273421645" sldId="330"/>
        </pc:sldMkLst>
        <pc:picChg chg="add del mod">
          <ac:chgData name="Jonsson Åsa" userId="S::asa.jonsson@inera.se::e7c157ac-c4f4-446a-aea7-2d9507f60b0e" providerId="AD" clId="Web-{D6A783D5-6487-4730-AF54-432CAB4FAF5E}" dt="2020-10-02T05:43:02.327" v="1"/>
          <ac:picMkLst>
            <pc:docMk/>
            <pc:sldMk cId="1273421645" sldId="330"/>
            <ac:picMk id="3" creationId="{A8B8CE22-20FE-4F54-92BF-C57FB8E01344}"/>
          </ac:picMkLst>
        </pc:picChg>
      </pc:sldChg>
    </pc:docChg>
  </pc:docChgLst>
  <pc:docChgLst>
    <pc:chgData name="Axelsson Jenny" userId="S::jenny.axelsson@inera.se::35153831-a041-4e19-963c-026d50be729b" providerId="AD" clId="Web-{443428BE-F189-45B6-B22E-238CEF53F1D9}"/>
    <pc:docChg chg="addSld delSld">
      <pc:chgData name="Axelsson Jenny" userId="S::jenny.axelsson@inera.se::35153831-a041-4e19-963c-026d50be729b" providerId="AD" clId="Web-{443428BE-F189-45B6-B22E-238CEF53F1D9}" dt="2020-09-22T06:51:07.185" v="2"/>
      <pc:docMkLst>
        <pc:docMk/>
      </pc:docMkLst>
      <pc:sldChg chg="new del">
        <pc:chgData name="Axelsson Jenny" userId="S::jenny.axelsson@inera.se::35153831-a041-4e19-963c-026d50be729b" providerId="AD" clId="Web-{443428BE-F189-45B6-B22E-238CEF53F1D9}" dt="2020-09-22T06:50:59.232" v="1"/>
        <pc:sldMkLst>
          <pc:docMk/>
          <pc:sldMk cId="2316355627" sldId="321"/>
        </pc:sldMkLst>
      </pc:sldChg>
      <pc:sldChg chg="new">
        <pc:chgData name="Axelsson Jenny" userId="S::jenny.axelsson@inera.se::35153831-a041-4e19-963c-026d50be729b" providerId="AD" clId="Web-{443428BE-F189-45B6-B22E-238CEF53F1D9}" dt="2020-09-22T06:51:07.185" v="2"/>
        <pc:sldMkLst>
          <pc:docMk/>
          <pc:sldMk cId="3905592595" sldId="321"/>
        </pc:sldMkLst>
      </pc:sldChg>
    </pc:docChg>
  </pc:docChgLst>
  <pc:docChgLst>
    <pc:chgData name="Axelsson Jenny" userId="S::jenny.axelsson@inera.se::35153831-a041-4e19-963c-026d50be729b" providerId="AD" clId="Web-{9D3697EF-73A1-4913-BEF0-C9D7B4B6B843}"/>
    <pc:docChg chg="modSld">
      <pc:chgData name="Axelsson Jenny" userId="S::jenny.axelsson@inera.se::35153831-a041-4e19-963c-026d50be729b" providerId="AD" clId="Web-{9D3697EF-73A1-4913-BEF0-C9D7B4B6B843}" dt="2020-09-30T13:36:56.432" v="86" actId="20577"/>
      <pc:docMkLst>
        <pc:docMk/>
      </pc:docMkLst>
      <pc:sldChg chg="modSp">
        <pc:chgData name="Axelsson Jenny" userId="S::jenny.axelsson@inera.se::35153831-a041-4e19-963c-026d50be729b" providerId="AD" clId="Web-{9D3697EF-73A1-4913-BEF0-C9D7B4B6B843}" dt="2020-09-30T13:30:00.193" v="5" actId="20577"/>
        <pc:sldMkLst>
          <pc:docMk/>
          <pc:sldMk cId="2974578957" sldId="312"/>
        </pc:sldMkLst>
        <pc:spChg chg="mod">
          <ac:chgData name="Axelsson Jenny" userId="S::jenny.axelsson@inera.se::35153831-a041-4e19-963c-026d50be729b" providerId="AD" clId="Web-{9D3697EF-73A1-4913-BEF0-C9D7B4B6B843}" dt="2020-09-30T13:30:00.193" v="5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modSp">
        <pc:chgData name="Axelsson Jenny" userId="S::jenny.axelsson@inera.se::35153831-a041-4e19-963c-026d50be729b" providerId="AD" clId="Web-{9D3697EF-73A1-4913-BEF0-C9D7B4B6B843}" dt="2020-09-30T13:36:56.432" v="86" actId="20577"/>
        <pc:sldMkLst>
          <pc:docMk/>
          <pc:sldMk cId="1174869849" sldId="323"/>
        </pc:sldMkLst>
        <pc:spChg chg="mod">
          <ac:chgData name="Axelsson Jenny" userId="S::jenny.axelsson@inera.se::35153831-a041-4e19-963c-026d50be729b" providerId="AD" clId="Web-{9D3697EF-73A1-4913-BEF0-C9D7B4B6B843}" dt="2020-09-30T13:36:56.432" v="86" actId="20577"/>
          <ac:spMkLst>
            <pc:docMk/>
            <pc:sldMk cId="1174869849" sldId="323"/>
            <ac:spMk id="5" creationId="{E66C5368-8331-464F-8C50-5BB97655E8A7}"/>
          </ac:spMkLst>
        </pc:spChg>
      </pc:sldChg>
      <pc:sldChg chg="addSp delSp modSp">
        <pc:chgData name="Axelsson Jenny" userId="S::jenny.axelsson@inera.se::35153831-a041-4e19-963c-026d50be729b" providerId="AD" clId="Web-{9D3697EF-73A1-4913-BEF0-C9D7B4B6B843}" dt="2020-09-30T13:34:59.712" v="82" actId="20577"/>
        <pc:sldMkLst>
          <pc:docMk/>
          <pc:sldMk cId="3502592633" sldId="325"/>
        </pc:sldMkLst>
        <pc:spChg chg="mod">
          <ac:chgData name="Axelsson Jenny" userId="S::jenny.axelsson@inera.se::35153831-a041-4e19-963c-026d50be729b" providerId="AD" clId="Web-{9D3697EF-73A1-4913-BEF0-C9D7B4B6B843}" dt="2020-09-30T13:34:59.712" v="82" actId="20577"/>
          <ac:spMkLst>
            <pc:docMk/>
            <pc:sldMk cId="3502592633" sldId="325"/>
            <ac:spMk id="5" creationId="{E66C5368-8331-464F-8C50-5BB97655E8A7}"/>
          </ac:spMkLst>
        </pc:spChg>
        <pc:spChg chg="add mod">
          <ac:chgData name="Axelsson Jenny" userId="S::jenny.axelsson@inera.se::35153831-a041-4e19-963c-026d50be729b" providerId="AD" clId="Web-{9D3697EF-73A1-4913-BEF0-C9D7B4B6B843}" dt="2020-09-30T13:33:53.961" v="57" actId="1076"/>
          <ac:spMkLst>
            <pc:docMk/>
            <pc:sldMk cId="3502592633" sldId="325"/>
            <ac:spMk id="11" creationId="{0C1A7F17-39E4-4ED9-8D35-130092C61C5C}"/>
          </ac:spMkLst>
        </pc:spChg>
        <pc:picChg chg="add del mod">
          <ac:chgData name="Axelsson Jenny" userId="S::jenny.axelsson@inera.se::35153831-a041-4e19-963c-026d50be729b" providerId="AD" clId="Web-{9D3697EF-73A1-4913-BEF0-C9D7B4B6B843}" dt="2020-09-30T13:31:23.334" v="32"/>
          <ac:picMkLst>
            <pc:docMk/>
            <pc:sldMk cId="3502592633" sldId="325"/>
            <ac:picMk id="3" creationId="{68A20276-0CB0-488A-A966-F0234249C7ED}"/>
          </ac:picMkLst>
        </pc:picChg>
        <pc:picChg chg="add del mod">
          <ac:chgData name="Axelsson Jenny" userId="S::jenny.axelsson@inera.se::35153831-a041-4e19-963c-026d50be729b" providerId="AD" clId="Web-{9D3697EF-73A1-4913-BEF0-C9D7B4B6B843}" dt="2020-09-30T13:31:55.803" v="34"/>
          <ac:picMkLst>
            <pc:docMk/>
            <pc:sldMk cId="3502592633" sldId="325"/>
            <ac:picMk id="6" creationId="{2FF0B904-CE7C-4CD3-A2CA-C69B92070193}"/>
          </ac:picMkLst>
        </pc:picChg>
        <pc:picChg chg="add del mod">
          <ac:chgData name="Axelsson Jenny" userId="S::jenny.axelsson@inera.se::35153831-a041-4e19-963c-026d50be729b" providerId="AD" clId="Web-{9D3697EF-73A1-4913-BEF0-C9D7B4B6B843}" dt="2020-09-30T13:32:07.757" v="39"/>
          <ac:picMkLst>
            <pc:docMk/>
            <pc:sldMk cId="3502592633" sldId="325"/>
            <ac:picMk id="8" creationId="{3C64E35F-8C42-4E4E-BE88-350DC493B7B1}"/>
          </ac:picMkLst>
        </pc:picChg>
        <pc:picChg chg="add mod">
          <ac:chgData name="Axelsson Jenny" userId="S::jenny.axelsson@inera.se::35153831-a041-4e19-963c-026d50be729b" providerId="AD" clId="Web-{9D3697EF-73A1-4913-BEF0-C9D7B4B6B843}" dt="2020-09-30T13:33:44.258" v="55" actId="1076"/>
          <ac:picMkLst>
            <pc:docMk/>
            <pc:sldMk cId="3502592633" sldId="325"/>
            <ac:picMk id="10" creationId="{050CD253-2A8F-4DD1-B109-101B16671531}"/>
          </ac:picMkLst>
        </pc:picChg>
        <pc:cxnChg chg="add del mod">
          <ac:chgData name="Axelsson Jenny" userId="S::jenny.axelsson@inera.se::35153831-a041-4e19-963c-026d50be729b" providerId="AD" clId="Web-{9D3697EF-73A1-4913-BEF0-C9D7B4B6B843}" dt="2020-09-30T13:34:35.383" v="61"/>
          <ac:cxnSpMkLst>
            <pc:docMk/>
            <pc:sldMk cId="3502592633" sldId="325"/>
            <ac:cxnSpMk id="12" creationId="{D945FA9C-EEAC-4E34-9D22-444276176AFB}"/>
          </ac:cxnSpMkLst>
        </pc:cxnChg>
      </pc:sldChg>
    </pc:docChg>
  </pc:docChgLst>
  <pc:docChgLst>
    <pc:chgData name="Axelsson Jenny" userId="35153831-a041-4e19-963c-026d50be729b" providerId="ADAL" clId="{B2E5886A-ABDB-4127-85CD-9314B6D84B8D}"/>
    <pc:docChg chg="undo custSel addSld delSld modSld">
      <pc:chgData name="Axelsson Jenny" userId="35153831-a041-4e19-963c-026d50be729b" providerId="ADAL" clId="{B2E5886A-ABDB-4127-85CD-9314B6D84B8D}" dt="2020-01-24T12:01:16.339" v="448"/>
      <pc:docMkLst>
        <pc:docMk/>
      </pc:docMkLst>
      <pc:sldChg chg="modSp">
        <pc:chgData name="Axelsson Jenny" userId="35153831-a041-4e19-963c-026d50be729b" providerId="ADAL" clId="{B2E5886A-ABDB-4127-85CD-9314B6D84B8D}" dt="2020-01-20T13:45:36.978" v="53" actId="20577"/>
        <pc:sldMkLst>
          <pc:docMk/>
          <pc:sldMk cId="1351546238" sldId="267"/>
        </pc:sldMkLst>
        <pc:spChg chg="mod">
          <ac:chgData name="Axelsson Jenny" userId="35153831-a041-4e19-963c-026d50be729b" providerId="ADAL" clId="{B2E5886A-ABDB-4127-85CD-9314B6D84B8D}" dt="2020-01-20T13:45:36.978" v="53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modAnim">
        <pc:chgData name="Axelsson Jenny" userId="35153831-a041-4e19-963c-026d50be729b" providerId="ADAL" clId="{B2E5886A-ABDB-4127-85CD-9314B6D84B8D}" dt="2020-01-24T12:01:16.339" v="448"/>
        <pc:sldMkLst>
          <pc:docMk/>
          <pc:sldMk cId="3796863757" sldId="313"/>
        </pc:sldMkLst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2668455938" sldId="316"/>
        </pc:sldMkLst>
      </pc:sldChg>
      <pc:sldChg chg="addSp delSp modSp add">
        <pc:chgData name="Axelsson Jenny" userId="35153831-a041-4e19-963c-026d50be729b" providerId="ADAL" clId="{B2E5886A-ABDB-4127-85CD-9314B6D84B8D}" dt="2020-01-20T14:22:39.779" v="426" actId="403"/>
        <pc:sldMkLst>
          <pc:docMk/>
          <pc:sldMk cId="1087366172" sldId="317"/>
        </pc:sldMkLst>
        <pc:spChg chg="mod">
          <ac:chgData name="Axelsson Jenny" userId="35153831-a041-4e19-963c-026d50be729b" providerId="ADAL" clId="{B2E5886A-ABDB-4127-85CD-9314B6D84B8D}" dt="2020-01-20T13:53:01.398" v="378" actId="1076"/>
          <ac:spMkLst>
            <pc:docMk/>
            <pc:sldMk cId="1087366172" sldId="317"/>
            <ac:spMk id="2" creationId="{28142FAB-2177-42C2-83A7-B8FCD6F5DAB5}"/>
          </ac:spMkLst>
        </pc:spChg>
        <pc:spChg chg="add del mod">
          <ac:chgData name="Axelsson Jenny" userId="35153831-a041-4e19-963c-026d50be729b" providerId="ADAL" clId="{B2E5886A-ABDB-4127-85CD-9314B6D84B8D}" dt="2020-01-20T13:52:54.813" v="376" actId="478"/>
          <ac:spMkLst>
            <pc:docMk/>
            <pc:sldMk cId="1087366172" sldId="317"/>
            <ac:spMk id="3" creationId="{FFAF5EEC-0936-4ED1-91D2-F11CD2AE839F}"/>
          </ac:spMkLst>
        </pc:spChg>
        <pc:spChg chg="mod">
          <ac:chgData name="Axelsson Jenny" userId="35153831-a041-4e19-963c-026d50be729b" providerId="ADAL" clId="{B2E5886A-ABDB-4127-85CD-9314B6D84B8D}" dt="2020-01-20T14:22:19.398" v="422" actId="14100"/>
          <ac:spMkLst>
            <pc:docMk/>
            <pc:sldMk cId="1087366172" sldId="317"/>
            <ac:spMk id="5" creationId="{E66C5368-8331-464F-8C50-5BB97655E8A7}"/>
          </ac:spMkLst>
        </pc:spChg>
        <pc:spChg chg="add del">
          <ac:chgData name="Axelsson Jenny" userId="35153831-a041-4e19-963c-026d50be729b" providerId="ADAL" clId="{B2E5886A-ABDB-4127-85CD-9314B6D84B8D}" dt="2020-01-20T13:52:44.182" v="371" actId="478"/>
          <ac:spMkLst>
            <pc:docMk/>
            <pc:sldMk cId="1087366172" sldId="317"/>
            <ac:spMk id="6" creationId="{8E8D1791-A655-44E9-A55B-03714C1DB25C}"/>
          </ac:spMkLst>
        </pc:spChg>
        <pc:spChg chg="add mod">
          <ac:chgData name="Axelsson Jenny" userId="35153831-a041-4e19-963c-026d50be729b" providerId="ADAL" clId="{B2E5886A-ABDB-4127-85CD-9314B6D84B8D}" dt="2020-01-20T14:22:39.779" v="426" actId="403"/>
          <ac:spMkLst>
            <pc:docMk/>
            <pc:sldMk cId="1087366172" sldId="317"/>
            <ac:spMk id="7" creationId="{4F1B58EF-0AF9-4835-911F-C3ECB385AAED}"/>
          </ac:spMkLst>
        </pc:spChg>
      </pc:sldChg>
      <pc:sldChg chg="addSp delSp modSp add">
        <pc:chgData name="Axelsson Jenny" userId="35153831-a041-4e19-963c-026d50be729b" providerId="ADAL" clId="{B2E5886A-ABDB-4127-85CD-9314B6D84B8D}" dt="2020-01-20T14:27:06.760" v="442" actId="1076"/>
        <pc:sldMkLst>
          <pc:docMk/>
          <pc:sldMk cId="3410182091" sldId="318"/>
        </pc:sldMkLst>
        <pc:spChg chg="mod">
          <ac:chgData name="Axelsson Jenny" userId="35153831-a041-4e19-963c-026d50be729b" providerId="ADAL" clId="{B2E5886A-ABDB-4127-85CD-9314B6D84B8D}" dt="2020-01-20T13:52:21.882" v="363" actId="20577"/>
          <ac:spMkLst>
            <pc:docMk/>
            <pc:sldMk cId="3410182091" sldId="318"/>
            <ac:spMk id="2" creationId="{28142FAB-2177-42C2-83A7-B8FCD6F5DAB5}"/>
          </ac:spMkLst>
        </pc:spChg>
        <pc:spChg chg="del mod">
          <ac:chgData name="Axelsson Jenny" userId="35153831-a041-4e19-963c-026d50be729b" providerId="ADAL" clId="{B2E5886A-ABDB-4127-85CD-9314B6D84B8D}" dt="2020-01-20T13:52:36.727" v="370" actId="478"/>
          <ac:spMkLst>
            <pc:docMk/>
            <pc:sldMk cId="3410182091" sldId="318"/>
            <ac:spMk id="3" creationId="{FFAF5EEC-0936-4ED1-91D2-F11CD2AE839F}"/>
          </ac:spMkLst>
        </pc:spChg>
        <pc:spChg chg="del mod">
          <ac:chgData name="Axelsson Jenny" userId="35153831-a041-4e19-963c-026d50be729b" providerId="ADAL" clId="{B2E5886A-ABDB-4127-85CD-9314B6D84B8D}" dt="2020-01-20T13:52:31.869" v="366" actId="478"/>
          <ac:spMkLst>
            <pc:docMk/>
            <pc:sldMk cId="3410182091" sldId="318"/>
            <ac:spMk id="5" creationId="{E66C5368-8331-464F-8C50-5BB97655E8A7}"/>
          </ac:spMkLst>
        </pc:spChg>
        <pc:spChg chg="del mod">
          <ac:chgData name="Axelsson Jenny" userId="35153831-a041-4e19-963c-026d50be729b" providerId="ADAL" clId="{B2E5886A-ABDB-4127-85CD-9314B6D84B8D}" dt="2020-01-20T13:52:34.629" v="368" actId="478"/>
          <ac:spMkLst>
            <pc:docMk/>
            <pc:sldMk cId="3410182091" sldId="318"/>
            <ac:spMk id="6" creationId="{8E8D1791-A655-44E9-A55B-03714C1DB25C}"/>
          </ac:spMkLst>
        </pc:spChg>
        <pc:picChg chg="add mod">
          <ac:chgData name="Axelsson Jenny" userId="35153831-a041-4e19-963c-026d50be729b" providerId="ADAL" clId="{B2E5886A-ABDB-4127-85CD-9314B6D84B8D}" dt="2020-01-20T14:27:06.760" v="442" actId="1076"/>
          <ac:picMkLst>
            <pc:docMk/>
            <pc:sldMk cId="3410182091" sldId="318"/>
            <ac:picMk id="2050" creationId="{9488EBE9-0A96-4228-AF72-FCB2F7FA46D0}"/>
          </ac:picMkLst>
        </pc:picChg>
      </pc:sldChg>
      <pc:sldChg chg="modSp add del">
        <pc:chgData name="Axelsson Jenny" userId="35153831-a041-4e19-963c-026d50be729b" providerId="ADAL" clId="{B2E5886A-ABDB-4127-85CD-9314B6D84B8D}" dt="2020-01-24T12:00:57.331" v="445" actId="2696"/>
        <pc:sldMkLst>
          <pc:docMk/>
          <pc:sldMk cId="1729643480" sldId="319"/>
        </pc:sldMkLst>
        <pc:spChg chg="mod">
          <ac:chgData name="Axelsson Jenny" userId="35153831-a041-4e19-963c-026d50be729b" providerId="ADAL" clId="{B2E5886A-ABDB-4127-85CD-9314B6D84B8D}" dt="2020-01-20T13:53:41.085" v="397" actId="20577"/>
          <ac:spMkLst>
            <pc:docMk/>
            <pc:sldMk cId="1729643480" sldId="319"/>
            <ac:spMk id="2" creationId="{28142FAB-2177-42C2-83A7-B8FCD6F5DAB5}"/>
          </ac:spMkLst>
        </pc:spChg>
      </pc:sldChg>
      <pc:sldChg chg="modSp add">
        <pc:chgData name="Axelsson Jenny" userId="35153831-a041-4e19-963c-026d50be729b" providerId="ADAL" clId="{B2E5886A-ABDB-4127-85CD-9314B6D84B8D}" dt="2020-01-20T14:27:18.849" v="443" actId="6549"/>
        <pc:sldMkLst>
          <pc:docMk/>
          <pc:sldMk cId="4158479537" sldId="320"/>
        </pc:sldMkLst>
        <pc:spChg chg="mod">
          <ac:chgData name="Axelsson Jenny" userId="35153831-a041-4e19-963c-026d50be729b" providerId="ADAL" clId="{B2E5886A-ABDB-4127-85CD-9314B6D84B8D}" dt="2020-01-20T13:54:21.347" v="414" actId="20577"/>
          <ac:spMkLst>
            <pc:docMk/>
            <pc:sldMk cId="4158479537" sldId="320"/>
            <ac:spMk id="2" creationId="{28142FAB-2177-42C2-83A7-B8FCD6F5DAB5}"/>
          </ac:spMkLst>
        </pc:spChg>
        <pc:spChg chg="mod">
          <ac:chgData name="Axelsson Jenny" userId="35153831-a041-4e19-963c-026d50be729b" providerId="ADAL" clId="{B2E5886A-ABDB-4127-85CD-9314B6D84B8D}" dt="2020-01-20T14:27:18.849" v="443" actId="6549"/>
          <ac:spMkLst>
            <pc:docMk/>
            <pc:sldMk cId="4158479537" sldId="320"/>
            <ac:spMk id="5" creationId="{E66C5368-8331-464F-8C50-5BB97655E8A7}"/>
          </ac:spMkLst>
        </pc:spChg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2768632427" sldId="321"/>
        </pc:sldMkLst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106689303" sldId="322"/>
        </pc:sldMkLst>
      </pc:sldChg>
    </pc:docChg>
  </pc:docChgLst>
  <pc:docChgLst>
    <pc:chgData name="Axelsson Jenny" userId="S::jenny.axelsson@inera.se::35153831-a041-4e19-963c-026d50be729b" providerId="AD" clId="Web-{AE699D6C-358A-4A90-83CF-AA23E8B7F059}"/>
    <pc:docChg chg="addSld delSld modSld">
      <pc:chgData name="Axelsson Jenny" userId="S::jenny.axelsson@inera.se::35153831-a041-4e19-963c-026d50be729b" providerId="AD" clId="Web-{AE699D6C-358A-4A90-83CF-AA23E8B7F059}" dt="2020-09-30T12:49:50.661" v="238" actId="20577"/>
      <pc:docMkLst>
        <pc:docMk/>
      </pc:docMkLst>
      <pc:sldChg chg="addSp delSp modSp del">
        <pc:chgData name="Axelsson Jenny" userId="S::jenny.axelsson@inera.se::35153831-a041-4e19-963c-026d50be729b" providerId="AD" clId="Web-{AE699D6C-358A-4A90-83CF-AA23E8B7F059}" dt="2020-09-30T12:21:04.335" v="77"/>
        <pc:sldMkLst>
          <pc:docMk/>
          <pc:sldMk cId="2886419294" sldId="321"/>
        </pc:sldMkLst>
        <pc:spChg chg="mod">
          <ac:chgData name="Axelsson Jenny" userId="S::jenny.axelsson@inera.se::35153831-a041-4e19-963c-026d50be729b" providerId="AD" clId="Web-{AE699D6C-358A-4A90-83CF-AA23E8B7F059}" dt="2020-09-30T12:16:12.808" v="8" actId="20577"/>
          <ac:spMkLst>
            <pc:docMk/>
            <pc:sldMk cId="2886419294" sldId="321"/>
            <ac:spMk id="2" creationId="{28142FAB-2177-42C2-83A7-B8FCD6F5DAB5}"/>
          </ac:spMkLst>
        </pc:spChg>
        <pc:spChg chg="add del mod">
          <ac:chgData name="Axelsson Jenny" userId="S::jenny.axelsson@inera.se::35153831-a041-4e19-963c-026d50be729b" providerId="AD" clId="Web-{AE699D6C-358A-4A90-83CF-AA23E8B7F059}" dt="2020-09-30T12:17:07.219" v="53"/>
          <ac:spMkLst>
            <pc:docMk/>
            <pc:sldMk cId="2886419294" sldId="321"/>
            <ac:spMk id="3" creationId="{3396CDA6-5D2C-42CA-8A4F-3F3484F86FD8}"/>
          </ac:spMkLst>
        </pc:spChg>
        <pc:spChg chg="mod">
          <ac:chgData name="Axelsson Jenny" userId="S::jenny.axelsson@inera.se::35153831-a041-4e19-963c-026d50be729b" providerId="AD" clId="Web-{AE699D6C-358A-4A90-83CF-AA23E8B7F059}" dt="2020-09-30T12:16:58.187" v="49" actId="14100"/>
          <ac:spMkLst>
            <pc:docMk/>
            <pc:sldMk cId="2886419294" sldId="321"/>
            <ac:spMk id="5" creationId="{E66C5368-8331-464F-8C50-5BB97655E8A7}"/>
          </ac:spMkLst>
        </pc:spChg>
        <pc:spChg chg="add del mod">
          <ac:chgData name="Axelsson Jenny" userId="S::jenny.axelsson@inera.se::35153831-a041-4e19-963c-026d50be729b" providerId="AD" clId="Web-{AE699D6C-358A-4A90-83CF-AA23E8B7F059}" dt="2020-09-30T12:17:48.223" v="59"/>
          <ac:spMkLst>
            <pc:docMk/>
            <pc:sldMk cId="2886419294" sldId="321"/>
            <ac:spMk id="6" creationId="{E6A1B187-45F2-451B-BD90-470D3A007FC2}"/>
          </ac:spMkLst>
        </pc:spChg>
      </pc:sldChg>
      <pc:sldChg chg="new del">
        <pc:chgData name="Axelsson Jenny" userId="S::jenny.axelsson@inera.se::35153831-a041-4e19-963c-026d50be729b" providerId="AD" clId="Web-{AE699D6C-358A-4A90-83CF-AA23E8B7F059}" dt="2020-09-30T12:15:35.148" v="2"/>
        <pc:sldMkLst>
          <pc:docMk/>
          <pc:sldMk cId="718786309" sldId="322"/>
        </pc:sldMkLst>
      </pc:sldChg>
      <pc:sldChg chg="modSp add replId">
        <pc:chgData name="Axelsson Jenny" userId="S::jenny.axelsson@inera.se::35153831-a041-4e19-963c-026d50be729b" providerId="AD" clId="Web-{AE699D6C-358A-4A90-83CF-AA23E8B7F059}" dt="2020-09-30T12:15:41.618" v="3" actId="20577"/>
        <pc:sldMkLst>
          <pc:docMk/>
          <pc:sldMk cId="1174869849" sldId="323"/>
        </pc:sldMkLst>
        <pc:spChg chg="mod">
          <ac:chgData name="Axelsson Jenny" userId="S::jenny.axelsson@inera.se::35153831-a041-4e19-963c-026d50be729b" providerId="AD" clId="Web-{AE699D6C-358A-4A90-83CF-AA23E8B7F059}" dt="2020-09-30T12:15:41.618" v="3" actId="20577"/>
          <ac:spMkLst>
            <pc:docMk/>
            <pc:sldMk cId="1174869849" sldId="323"/>
            <ac:spMk id="5" creationId="{E66C5368-8331-464F-8C50-5BB97655E8A7}"/>
          </ac:spMkLst>
        </pc:spChg>
      </pc:sldChg>
      <pc:sldChg chg="new del">
        <pc:chgData name="Axelsson Jenny" userId="S::jenny.axelsson@inera.se::35153831-a041-4e19-963c-026d50be729b" providerId="AD" clId="Web-{AE699D6C-358A-4A90-83CF-AA23E8B7F059}" dt="2020-09-30T12:15:51.696" v="6"/>
        <pc:sldMkLst>
          <pc:docMk/>
          <pc:sldMk cId="4079650648" sldId="324"/>
        </pc:sldMkLst>
      </pc:sldChg>
      <pc:sldChg chg="add replId">
        <pc:chgData name="Axelsson Jenny" userId="S::jenny.axelsson@inera.se::35153831-a041-4e19-963c-026d50be729b" providerId="AD" clId="Web-{AE699D6C-358A-4A90-83CF-AA23E8B7F059}" dt="2020-09-30T12:15:49.321" v="5"/>
        <pc:sldMkLst>
          <pc:docMk/>
          <pc:sldMk cId="3502592633" sldId="325"/>
        </pc:sldMkLst>
      </pc:sldChg>
      <pc:sldChg chg="new del">
        <pc:chgData name="Axelsson Jenny" userId="S::jenny.axelsson@inera.se::35153831-a041-4e19-963c-026d50be729b" providerId="AD" clId="Web-{AE699D6C-358A-4A90-83CF-AA23E8B7F059}" dt="2020-09-30T12:17:27.721" v="56"/>
        <pc:sldMkLst>
          <pc:docMk/>
          <pc:sldMk cId="3316115416" sldId="326"/>
        </pc:sldMkLst>
      </pc:sldChg>
      <pc:sldChg chg="addSp delSp modSp new">
        <pc:chgData name="Axelsson Jenny" userId="S::jenny.axelsson@inera.se::35153831-a041-4e19-963c-026d50be729b" providerId="AD" clId="Web-{AE699D6C-358A-4A90-83CF-AA23E8B7F059}" dt="2020-09-30T12:49:50.661" v="238" actId="20577"/>
        <pc:sldMkLst>
          <pc:docMk/>
          <pc:sldMk cId="1678635160" sldId="327"/>
        </pc:sldMkLst>
        <pc:spChg chg="del mod">
          <ac:chgData name="Axelsson Jenny" userId="S::jenny.axelsson@inera.se::35153831-a041-4e19-963c-026d50be729b" providerId="AD" clId="Web-{AE699D6C-358A-4A90-83CF-AA23E8B7F059}" dt="2020-09-30T12:19:46.780" v="65"/>
          <ac:spMkLst>
            <pc:docMk/>
            <pc:sldMk cId="1678635160" sldId="327"/>
            <ac:spMk id="2" creationId="{9E688CD2-0B78-4500-88A5-69817C594BD0}"/>
          </ac:spMkLst>
        </pc:spChg>
        <pc:spChg chg="del mod">
          <ac:chgData name="Axelsson Jenny" userId="S::jenny.axelsson@inera.se::35153831-a041-4e19-963c-026d50be729b" providerId="AD" clId="Web-{AE699D6C-358A-4A90-83CF-AA23E8B7F059}" dt="2020-09-30T12:20:28.081" v="70"/>
          <ac:spMkLst>
            <pc:docMk/>
            <pc:sldMk cId="1678635160" sldId="327"/>
            <ac:spMk id="3" creationId="{0BD8DC67-BEE2-46CA-8F5E-2676B0F10F88}"/>
          </ac:spMkLst>
        </pc:spChg>
        <pc:spChg chg="del">
          <ac:chgData name="Axelsson Jenny" userId="S::jenny.axelsson@inera.se::35153831-a041-4e19-963c-026d50be729b" providerId="AD" clId="Web-{AE699D6C-358A-4A90-83CF-AA23E8B7F059}" dt="2020-09-30T12:18:13.334" v="64"/>
          <ac:spMkLst>
            <pc:docMk/>
            <pc:sldMk cId="1678635160" sldId="327"/>
            <ac:spMk id="4" creationId="{50992CD4-E7C7-4BC1-A3F1-E7808D3EA638}"/>
          </ac:spMkLst>
        </pc:spChg>
        <pc:spChg chg="add mod">
          <ac:chgData name="Axelsson Jenny" userId="S::jenny.axelsson@inera.se::35153831-a041-4e19-963c-026d50be729b" providerId="AD" clId="Web-{AE699D6C-358A-4A90-83CF-AA23E8B7F059}" dt="2020-09-30T12:49:50.661" v="238" actId="20577"/>
          <ac:spMkLst>
            <pc:docMk/>
            <pc:sldMk cId="1678635160" sldId="327"/>
            <ac:spMk id="7" creationId="{245A2747-7EE6-43DA-ADEE-D5F5B8D729B4}"/>
          </ac:spMkLst>
        </pc:spChg>
        <pc:picChg chg="add mod ord modCrop">
          <ac:chgData name="Axelsson Jenny" userId="S::jenny.axelsson@inera.se::35153831-a041-4e19-963c-026d50be729b" providerId="AD" clId="Web-{AE699D6C-358A-4A90-83CF-AA23E8B7F059}" dt="2020-09-30T12:20:45.223" v="74" actId="14100"/>
          <ac:picMkLst>
            <pc:docMk/>
            <pc:sldMk cId="1678635160" sldId="327"/>
            <ac:picMk id="5" creationId="{87D97B51-5AF2-439A-B7E6-CD2A95053860}"/>
          </ac:picMkLst>
        </pc:picChg>
      </pc:sldChg>
    </pc:docChg>
  </pc:docChgLst>
  <pc:docChgLst>
    <pc:chgData name="Axelsson Jenny" userId="S::jenny.axelsson@inera.se::35153831-a041-4e19-963c-026d50be729b" providerId="AD" clId="Web-{E1BDD909-5326-4842-AC82-ED919D626419}"/>
    <pc:docChg chg="sldOrd">
      <pc:chgData name="Axelsson Jenny" userId="S::jenny.axelsson@inera.se::35153831-a041-4e19-963c-026d50be729b" providerId="AD" clId="Web-{E1BDD909-5326-4842-AC82-ED919D626419}" dt="2020-09-22T07:27:14.559" v="0"/>
      <pc:docMkLst>
        <pc:docMk/>
      </pc:docMkLst>
      <pc:sldChg chg="ord">
        <pc:chgData name="Axelsson Jenny" userId="S::jenny.axelsson@inera.se::35153831-a041-4e19-963c-026d50be729b" providerId="AD" clId="Web-{E1BDD909-5326-4842-AC82-ED919D626419}" dt="2020-09-22T07:27:14.559" v="0"/>
        <pc:sldMkLst>
          <pc:docMk/>
          <pc:sldMk cId="1036871477" sldId="264"/>
        </pc:sldMkLst>
      </pc:sldChg>
    </pc:docChg>
  </pc:docChgLst>
  <pc:docChgLst>
    <pc:chgData name="Axelsson Jenny" userId="S::jenny.axelsson@inera.se::35153831-a041-4e19-963c-026d50be729b" providerId="AD" clId="Web-{8FFA0416-C237-47D7-A6D8-5A3C7645C146}"/>
    <pc:docChg chg="modSld">
      <pc:chgData name="Axelsson Jenny" userId="S::jenny.axelsson@inera.se::35153831-a041-4e19-963c-026d50be729b" providerId="AD" clId="Web-{8FFA0416-C237-47D7-A6D8-5A3C7645C146}" dt="2020-09-29T12:46:48.364" v="62" actId="1076"/>
      <pc:docMkLst>
        <pc:docMk/>
      </pc:docMkLst>
      <pc:sldChg chg="modSp">
        <pc:chgData name="Axelsson Jenny" userId="S::jenny.axelsson@inera.se::35153831-a041-4e19-963c-026d50be729b" providerId="AD" clId="Web-{8FFA0416-C237-47D7-A6D8-5A3C7645C146}" dt="2020-09-29T12:46:48.364" v="62" actId="1076"/>
        <pc:sldMkLst>
          <pc:docMk/>
          <pc:sldMk cId="1036871477" sldId="264"/>
        </pc:sldMkLst>
        <pc:spChg chg="mod">
          <ac:chgData name="Axelsson Jenny" userId="S::jenny.axelsson@inera.se::35153831-a041-4e19-963c-026d50be729b" providerId="AD" clId="Web-{8FFA0416-C237-47D7-A6D8-5A3C7645C146}" dt="2020-09-29T12:46:47.223" v="61" actId="20577"/>
          <ac:spMkLst>
            <pc:docMk/>
            <pc:sldMk cId="1036871477" sldId="264"/>
            <ac:spMk id="3" creationId="{3E215758-AD04-4783-8B7A-EA30D128D138}"/>
          </ac:spMkLst>
        </pc:spChg>
        <pc:picChg chg="mod">
          <ac:chgData name="Axelsson Jenny" userId="S::jenny.axelsson@inera.se::35153831-a041-4e19-963c-026d50be729b" providerId="AD" clId="Web-{8FFA0416-C237-47D7-A6D8-5A3C7645C146}" dt="2020-09-29T12:46:48.364" v="62" actId="1076"/>
          <ac:picMkLst>
            <pc:docMk/>
            <pc:sldMk cId="1036871477" sldId="264"/>
            <ac:picMk id="5" creationId="{9770DD3B-7684-4963-9E68-7E2FCFF30AF4}"/>
          </ac:picMkLst>
        </pc:picChg>
      </pc:sldChg>
      <pc:sldChg chg="modSp">
        <pc:chgData name="Axelsson Jenny" userId="S::jenny.axelsson@inera.se::35153831-a041-4e19-963c-026d50be729b" providerId="AD" clId="Web-{8FFA0416-C237-47D7-A6D8-5A3C7645C146}" dt="2020-09-29T12:45:23.550" v="31" actId="2057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8FFA0416-C237-47D7-A6D8-5A3C7645C146}" dt="2020-09-29T12:45:23.550" v="31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addSp delSp modSp">
        <pc:chgData name="Axelsson Jenny" userId="S::jenny.axelsson@inera.se::35153831-a041-4e19-963c-026d50be729b" providerId="AD" clId="Web-{8FFA0416-C237-47D7-A6D8-5A3C7645C146}" dt="2020-09-29T12:46:19.035" v="52"/>
        <pc:sldMkLst>
          <pc:docMk/>
          <pc:sldMk cId="3229524361" sldId="272"/>
        </pc:sldMkLst>
        <pc:spChg chg="add del">
          <ac:chgData name="Axelsson Jenny" userId="S::jenny.axelsson@inera.se::35153831-a041-4e19-963c-026d50be729b" providerId="AD" clId="Web-{8FFA0416-C237-47D7-A6D8-5A3C7645C146}" dt="2020-09-29T12:46:19.035" v="52"/>
          <ac:spMkLst>
            <pc:docMk/>
            <pc:sldMk cId="3229524361" sldId="272"/>
            <ac:spMk id="3" creationId="{FBF44A08-EBFD-4AA7-B677-68537D8D5914}"/>
          </ac:spMkLst>
        </pc:spChg>
        <pc:spChg chg="mod">
          <ac:chgData name="Axelsson Jenny" userId="S::jenny.axelsson@inera.se::35153831-a041-4e19-963c-026d50be729b" providerId="AD" clId="Web-{8FFA0416-C237-47D7-A6D8-5A3C7645C146}" dt="2020-09-29T12:45:32.597" v="34" actId="20577"/>
          <ac:spMkLst>
            <pc:docMk/>
            <pc:sldMk cId="3229524361" sldId="272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8FFA0416-C237-47D7-A6D8-5A3C7645C146}" dt="2020-09-29T12:45:20.222" v="30" actId="20577"/>
        <pc:sldMkLst>
          <pc:docMk/>
          <pc:sldMk cId="2850266236" sldId="300"/>
        </pc:sldMkLst>
        <pc:spChg chg="mod">
          <ac:chgData name="Axelsson Jenny" userId="S::jenny.axelsson@inera.se::35153831-a041-4e19-963c-026d50be729b" providerId="AD" clId="Web-{8FFA0416-C237-47D7-A6D8-5A3C7645C146}" dt="2020-09-29T12:45:20.222" v="30" actId="20577"/>
          <ac:spMkLst>
            <pc:docMk/>
            <pc:sldMk cId="2850266236" sldId="300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8FFA0416-C237-47D7-A6D8-5A3C7645C146}" dt="2020-09-29T12:45:17.737" v="29" actId="20577"/>
        <pc:sldMkLst>
          <pc:docMk/>
          <pc:sldMk cId="2886419294" sldId="321"/>
        </pc:sldMkLst>
        <pc:spChg chg="mod">
          <ac:chgData name="Axelsson Jenny" userId="S::jenny.axelsson@inera.se::35153831-a041-4e19-963c-026d50be729b" providerId="AD" clId="Web-{8FFA0416-C237-47D7-A6D8-5A3C7645C146}" dt="2020-09-29T12:45:17.737" v="29" actId="20577"/>
          <ac:spMkLst>
            <pc:docMk/>
            <pc:sldMk cId="2886419294" sldId="321"/>
            <ac:spMk id="5" creationId="{E66C5368-8331-464F-8C50-5BB97655E8A7}"/>
          </ac:spMkLst>
        </pc:spChg>
      </pc:sldChg>
    </pc:docChg>
  </pc:docChgLst>
  <pc:docChgLst>
    <pc:chgData name="Axelsson Jenny" userId="S::jenny.axelsson@inera.se::35153831-a041-4e19-963c-026d50be729b" providerId="AD" clId="Web-{8505F7C8-A96F-4020-B60F-A67082FC46FF}"/>
    <pc:docChg chg="addSld delSld">
      <pc:chgData name="Axelsson Jenny" userId="S::jenny.axelsson@inera.se::35153831-a041-4e19-963c-026d50be729b" providerId="AD" clId="Web-{8505F7C8-A96F-4020-B60F-A67082FC46FF}" dt="2020-03-19T09:54:25.514" v="1"/>
      <pc:docMkLst>
        <pc:docMk/>
      </pc:docMkLst>
      <pc:sldChg chg="new del">
        <pc:chgData name="Axelsson Jenny" userId="S::jenny.axelsson@inera.se::35153831-a041-4e19-963c-026d50be729b" providerId="AD" clId="Web-{8505F7C8-A96F-4020-B60F-A67082FC46FF}" dt="2020-03-19T09:54:25.514" v="1"/>
        <pc:sldMkLst>
          <pc:docMk/>
          <pc:sldMk cId="1024467020" sldId="321"/>
        </pc:sldMkLst>
      </pc:sldChg>
    </pc:docChg>
  </pc:docChgLst>
  <pc:docChgLst>
    <pc:chgData name="Axelsson Jenny" userId="S::jenny.axelsson@inera.se::35153831-a041-4e19-963c-026d50be729b" providerId="AD" clId="Web-{AE623D72-14B1-4B8D-8A3C-AF553254EFD9}"/>
    <pc:docChg chg="addSld delSld modSld">
      <pc:chgData name="Axelsson Jenny" userId="S::jenny.axelsson@inera.se::35153831-a041-4e19-963c-026d50be729b" providerId="AD" clId="Web-{AE623D72-14B1-4B8D-8A3C-AF553254EFD9}" dt="2020-09-30T13:21:32.695" v="78" actId="1076"/>
      <pc:docMkLst>
        <pc:docMk/>
      </pc:docMkLst>
      <pc:sldChg chg="modSp">
        <pc:chgData name="Axelsson Jenny" userId="S::jenny.axelsson@inera.se::35153831-a041-4e19-963c-026d50be729b" providerId="AD" clId="Web-{AE623D72-14B1-4B8D-8A3C-AF553254EFD9}" dt="2020-09-30T13:19:34.115" v="52" actId="20577"/>
        <pc:sldMkLst>
          <pc:docMk/>
          <pc:sldMk cId="1174869849" sldId="323"/>
        </pc:sldMkLst>
        <pc:spChg chg="mod">
          <ac:chgData name="Axelsson Jenny" userId="S::jenny.axelsson@inera.se::35153831-a041-4e19-963c-026d50be729b" providerId="AD" clId="Web-{AE623D72-14B1-4B8D-8A3C-AF553254EFD9}" dt="2020-09-30T13:19:34.115" v="52" actId="20577"/>
          <ac:spMkLst>
            <pc:docMk/>
            <pc:sldMk cId="1174869849" sldId="323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AE623D72-14B1-4B8D-8A3C-AF553254EFD9}" dt="2020-09-30T13:14:51.782" v="46" actId="20577"/>
        <pc:sldMkLst>
          <pc:docMk/>
          <pc:sldMk cId="3502592633" sldId="325"/>
        </pc:sldMkLst>
        <pc:spChg chg="mod">
          <ac:chgData name="Axelsson Jenny" userId="S::jenny.axelsson@inera.se::35153831-a041-4e19-963c-026d50be729b" providerId="AD" clId="Web-{AE623D72-14B1-4B8D-8A3C-AF553254EFD9}" dt="2020-09-30T13:14:48.220" v="45" actId="20577"/>
          <ac:spMkLst>
            <pc:docMk/>
            <pc:sldMk cId="3502592633" sldId="325"/>
            <ac:spMk id="2" creationId="{28142FAB-2177-42C2-83A7-B8FCD6F5DAB5}"/>
          </ac:spMkLst>
        </pc:spChg>
        <pc:spChg chg="mod">
          <ac:chgData name="Axelsson Jenny" userId="S::jenny.axelsson@inera.se::35153831-a041-4e19-963c-026d50be729b" providerId="AD" clId="Web-{AE623D72-14B1-4B8D-8A3C-AF553254EFD9}" dt="2020-09-30T13:14:51.782" v="46" actId="20577"/>
          <ac:spMkLst>
            <pc:docMk/>
            <pc:sldMk cId="3502592633" sldId="325"/>
            <ac:spMk id="5" creationId="{E66C5368-8331-464F-8C50-5BB97655E8A7}"/>
          </ac:spMkLst>
        </pc:spChg>
      </pc:sldChg>
      <pc:sldChg chg="addSp delSp modSp mod modClrScheme chgLayout">
        <pc:chgData name="Axelsson Jenny" userId="S::jenny.axelsson@inera.se::35153831-a041-4e19-963c-026d50be729b" providerId="AD" clId="Web-{AE623D72-14B1-4B8D-8A3C-AF553254EFD9}" dt="2020-09-30T13:21:32.695" v="78" actId="1076"/>
        <pc:sldMkLst>
          <pc:docMk/>
          <pc:sldMk cId="1678635160" sldId="327"/>
        </pc:sldMkLst>
        <pc:spChg chg="add del mod">
          <ac:chgData name="Axelsson Jenny" userId="S::jenny.axelsson@inera.se::35153831-a041-4e19-963c-026d50be729b" providerId="AD" clId="Web-{AE623D72-14B1-4B8D-8A3C-AF553254EFD9}" dt="2020-09-30T13:01:46.583" v="1"/>
          <ac:spMkLst>
            <pc:docMk/>
            <pc:sldMk cId="1678635160" sldId="327"/>
            <ac:spMk id="3" creationId="{3F00D8B0-E84C-4DEC-861A-EF4BFB8DDD7B}"/>
          </ac:spMkLst>
        </pc:spChg>
        <pc:spChg chg="mod">
          <ac:chgData name="Axelsson Jenny" userId="S::jenny.axelsson@inera.se::35153831-a041-4e19-963c-026d50be729b" providerId="AD" clId="Web-{AE623D72-14B1-4B8D-8A3C-AF553254EFD9}" dt="2020-09-30T13:21:32.695" v="78" actId="1076"/>
          <ac:spMkLst>
            <pc:docMk/>
            <pc:sldMk cId="1678635160" sldId="327"/>
            <ac:spMk id="7" creationId="{245A2747-7EE6-43DA-ADEE-D5F5B8D729B4}"/>
          </ac:spMkLst>
        </pc:spChg>
        <pc:spChg chg="add del mod">
          <ac:chgData name="Axelsson Jenny" userId="S::jenny.axelsson@inera.se::35153831-a041-4e19-963c-026d50be729b" providerId="AD" clId="Web-{AE623D72-14B1-4B8D-8A3C-AF553254EFD9}" dt="2020-09-30T13:03:04.991" v="4"/>
          <ac:spMkLst>
            <pc:docMk/>
            <pc:sldMk cId="1678635160" sldId="327"/>
            <ac:spMk id="8" creationId="{745CE952-B156-4C25-82D9-48BE572002E7}"/>
          </ac:spMkLst>
        </pc:spChg>
        <pc:spChg chg="add del mod">
          <ac:chgData name="Axelsson Jenny" userId="S::jenny.axelsson@inera.se::35153831-a041-4e19-963c-026d50be729b" providerId="AD" clId="Web-{AE623D72-14B1-4B8D-8A3C-AF553254EFD9}" dt="2020-09-30T13:04:34.148" v="8"/>
          <ac:spMkLst>
            <pc:docMk/>
            <pc:sldMk cId="1678635160" sldId="327"/>
            <ac:spMk id="11" creationId="{2CDBF76E-3273-4014-B24B-FFDC555FEEB1}"/>
          </ac:spMkLst>
        </pc:spChg>
        <pc:spChg chg="add mod">
          <ac:chgData name="Axelsson Jenny" userId="S::jenny.axelsson@inera.se::35153831-a041-4e19-963c-026d50be729b" providerId="AD" clId="Web-{AE623D72-14B1-4B8D-8A3C-AF553254EFD9}" dt="2020-09-30T13:21:28.726" v="77"/>
          <ac:spMkLst>
            <pc:docMk/>
            <pc:sldMk cId="1678635160" sldId="327"/>
            <ac:spMk id="17" creationId="{F854DF0B-4F01-4048-9FFA-11745AB7CC6A}"/>
          </ac:spMkLst>
        </pc:spChg>
        <pc:spChg chg="add del mod">
          <ac:chgData name="Axelsson Jenny" userId="S::jenny.axelsson@inera.se::35153831-a041-4e19-963c-026d50be729b" providerId="AD" clId="Web-{AE623D72-14B1-4B8D-8A3C-AF553254EFD9}" dt="2020-09-30T13:20:41.991" v="55"/>
          <ac:spMkLst>
            <pc:docMk/>
            <pc:sldMk cId="1678635160" sldId="327"/>
            <ac:spMk id="19" creationId="{B296F2E5-530C-4D4F-8067-F8EA93C3AF51}"/>
          </ac:spMkLst>
        </pc:spChg>
        <pc:spChg chg="add mod">
          <ac:chgData name="Axelsson Jenny" userId="S::jenny.axelsson@inera.se::35153831-a041-4e19-963c-026d50be729b" providerId="AD" clId="Web-{AE623D72-14B1-4B8D-8A3C-AF553254EFD9}" dt="2020-09-30T13:21:28.726" v="77"/>
          <ac:spMkLst>
            <pc:docMk/>
            <pc:sldMk cId="1678635160" sldId="327"/>
            <ac:spMk id="21" creationId="{2F026824-1FB9-4513-9B4F-DA27F60018F3}"/>
          </ac:spMkLst>
        </pc:spChg>
        <pc:spChg chg="add del mod">
          <ac:chgData name="Axelsson Jenny" userId="S::jenny.axelsson@inera.se::35153831-a041-4e19-963c-026d50be729b" providerId="AD" clId="Web-{AE623D72-14B1-4B8D-8A3C-AF553254EFD9}" dt="2020-09-30T13:21:28.726" v="77"/>
          <ac:spMkLst>
            <pc:docMk/>
            <pc:sldMk cId="1678635160" sldId="327"/>
            <ac:spMk id="26" creationId="{865A8A9D-A7C2-41A0-BD12-3C179AEA3CCC}"/>
          </ac:spMkLst>
        </pc:spChg>
        <pc:picChg chg="add del mod ord modCrop">
          <ac:chgData name="Axelsson Jenny" userId="S::jenny.axelsson@inera.se::35153831-a041-4e19-963c-026d50be729b" providerId="AD" clId="Web-{AE623D72-14B1-4B8D-8A3C-AF553254EFD9}" dt="2020-09-30T13:01:51.927" v="3"/>
          <ac:picMkLst>
            <pc:docMk/>
            <pc:sldMk cId="1678635160" sldId="327"/>
            <ac:picMk id="4" creationId="{9B0B367F-F6C5-4C96-81F2-ACFA5AB1F7BD}"/>
          </ac:picMkLst>
        </pc:picChg>
        <pc:picChg chg="del">
          <ac:chgData name="Axelsson Jenny" userId="S::jenny.axelsson@inera.se::35153831-a041-4e19-963c-026d50be729b" providerId="AD" clId="Web-{AE623D72-14B1-4B8D-8A3C-AF553254EFD9}" dt="2020-09-30T13:01:35.474" v="0"/>
          <ac:picMkLst>
            <pc:docMk/>
            <pc:sldMk cId="1678635160" sldId="327"/>
            <ac:picMk id="5" creationId="{87D97B51-5AF2-439A-B7E6-CD2A95053860}"/>
          </ac:picMkLst>
        </pc:picChg>
        <pc:picChg chg="add del mod ord modCrop">
          <ac:chgData name="Axelsson Jenny" userId="S::jenny.axelsson@inera.se::35153831-a041-4e19-963c-026d50be729b" providerId="AD" clId="Web-{AE623D72-14B1-4B8D-8A3C-AF553254EFD9}" dt="2020-09-30T13:04:30.369" v="7"/>
          <ac:picMkLst>
            <pc:docMk/>
            <pc:sldMk cId="1678635160" sldId="327"/>
            <ac:picMk id="9" creationId="{85DC4064-13B9-4912-B197-F77061C5690E}"/>
          </ac:picMkLst>
        </pc:picChg>
        <pc:picChg chg="add mod ord modCrop">
          <ac:chgData name="Axelsson Jenny" userId="S::jenny.axelsson@inera.se::35153831-a041-4e19-963c-026d50be729b" providerId="AD" clId="Web-{AE623D72-14B1-4B8D-8A3C-AF553254EFD9}" dt="2020-09-30T13:21:28.726" v="77"/>
          <ac:picMkLst>
            <pc:docMk/>
            <pc:sldMk cId="1678635160" sldId="327"/>
            <ac:picMk id="12" creationId="{B7781482-13FC-441D-BAB4-AADAA5D09C75}"/>
          </ac:picMkLst>
        </pc:picChg>
      </pc:sldChg>
      <pc:sldChg chg="new del">
        <pc:chgData name="Axelsson Jenny" userId="S::jenny.axelsson@inera.se::35153831-a041-4e19-963c-026d50be729b" providerId="AD" clId="Web-{AE623D72-14B1-4B8D-8A3C-AF553254EFD9}" dt="2020-09-30T13:14:27.954" v="37"/>
        <pc:sldMkLst>
          <pc:docMk/>
          <pc:sldMk cId="1413987476" sldId="328"/>
        </pc:sldMkLst>
      </pc:sldChg>
      <pc:sldChg chg="add replId">
        <pc:chgData name="Axelsson Jenny" userId="S::jenny.axelsson@inera.se::35153831-a041-4e19-963c-026d50be729b" providerId="AD" clId="Web-{AE623D72-14B1-4B8D-8A3C-AF553254EFD9}" dt="2020-09-30T13:14:37.126" v="39"/>
        <pc:sldMkLst>
          <pc:docMk/>
          <pc:sldMk cId="2794395689" sldId="328"/>
        </pc:sldMkLst>
      </pc:sldChg>
      <pc:sldChg chg="add del replId">
        <pc:chgData name="Axelsson Jenny" userId="S::jenny.axelsson@inera.se::35153831-a041-4e19-963c-026d50be729b" providerId="AD" clId="Web-{AE623D72-14B1-4B8D-8A3C-AF553254EFD9}" dt="2020-09-30T13:14:32.938" v="38"/>
        <pc:sldMkLst>
          <pc:docMk/>
          <pc:sldMk cId="3161307948" sldId="329"/>
        </pc:sldMkLst>
      </pc:sldChg>
    </pc:docChg>
  </pc:docChgLst>
  <pc:docChgLst>
    <pc:chgData name="Axelsson Jenny" userId="S::jenny.axelsson@inera.se::35153831-a041-4e19-963c-026d50be729b" providerId="AD" clId="Web-{5CF20EF5-6181-4803-858B-1D03E9FE011A}"/>
    <pc:docChg chg="delSld">
      <pc:chgData name="Axelsson Jenny" userId="S::jenny.axelsson@inera.se::35153831-a041-4e19-963c-026d50be729b" providerId="AD" clId="Web-{5CF20EF5-6181-4803-858B-1D03E9FE011A}" dt="2020-03-10T11:37:46.548" v="0"/>
      <pc:docMkLst>
        <pc:docMk/>
      </pc:docMkLst>
      <pc:sldChg chg="del">
        <pc:chgData name="Axelsson Jenny" userId="S::jenny.axelsson@inera.se::35153831-a041-4e19-963c-026d50be729b" providerId="AD" clId="Web-{5CF20EF5-6181-4803-858B-1D03E9FE011A}" dt="2020-03-10T11:37:46.548" v="0"/>
        <pc:sldMkLst>
          <pc:docMk/>
          <pc:sldMk cId="3796863757" sldId="313"/>
        </pc:sldMkLst>
      </pc:sldChg>
    </pc:docChg>
  </pc:docChgLst>
  <pc:docChgLst>
    <pc:chgData name="Axelsson Jenny" userId="S::jenny.axelsson@inera.se::35153831-a041-4e19-963c-026d50be729b" providerId="AD" clId="Web-{D67A9057-3711-4C50-9BFC-7BA2490B7110}"/>
    <pc:docChg chg="modSld">
      <pc:chgData name="Axelsson Jenny" userId="S::jenny.axelsson@inera.se::35153831-a041-4e19-963c-026d50be729b" providerId="AD" clId="Web-{D67A9057-3711-4C50-9BFC-7BA2490B7110}" dt="2020-10-02T09:14:32.133" v="11" actId="20577"/>
      <pc:docMkLst>
        <pc:docMk/>
      </pc:docMkLst>
      <pc:sldChg chg="modSp">
        <pc:chgData name="Axelsson Jenny" userId="S::jenny.axelsson@inera.se::35153831-a041-4e19-963c-026d50be729b" providerId="AD" clId="Web-{D67A9057-3711-4C50-9BFC-7BA2490B7110}" dt="2020-10-02T09:14:32.133" v="11" actId="20577"/>
        <pc:sldMkLst>
          <pc:docMk/>
          <pc:sldMk cId="1036871477" sldId="264"/>
        </pc:sldMkLst>
        <pc:spChg chg="mod">
          <ac:chgData name="Axelsson Jenny" userId="S::jenny.axelsson@inera.se::35153831-a041-4e19-963c-026d50be729b" providerId="AD" clId="Web-{D67A9057-3711-4C50-9BFC-7BA2490B7110}" dt="2020-10-02T09:14:32.133" v="11" actId="20577"/>
          <ac:spMkLst>
            <pc:docMk/>
            <pc:sldMk cId="1036871477" sldId="264"/>
            <ac:spMk id="3" creationId="{3E215758-AD04-4783-8B7A-EA30D128D13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0-10-0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9402CD-6991-4956-97B9-E3910AAB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4928556-41DC-4E7D-B277-65FF65098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B2DCD5D-84F3-4333-9600-FAF6E5BA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A163-B24D-46EA-873E-74E7789AD673}" type="datetimeFigureOut">
              <a:rPr lang="sv-SE" smtClean="0"/>
              <a:t>2020-10-02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3736BC-98B2-4BCE-A2E9-183F5B48C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1D28AC-A24D-4524-BA21-B7D614B94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6088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10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88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613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9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48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017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162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144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705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13919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56166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38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8" imgW="411" imgH="412" progId="TCLayout.ActiveDocument.1">
                  <p:embed/>
                </p:oleObj>
              </mc:Choice>
              <mc:Fallback>
                <p:oleObj name="think-cell Slide" r:id="rId18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  <p:sldLayoutId id="21474836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09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https://customers.anpdm.com/inera/1610_form/nyhetsbrev/subscribe/" TargetMode="Externa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era.se/nyheter/nyheter/siths-reservkort-loa3-kommer-i-host/" TargetMode="External"/><Relationship Id="rId2" Type="http://schemas.openxmlformats.org/officeDocument/2006/relationships/hyperlink" Target="https://www.inera.se/nyheter/nyheter/regioner-och-kommuner-kan-spara-miljontals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Användarforum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1200">
                <a:solidFill>
                  <a:schemeClr val="accent1"/>
                </a:solidFill>
              </a:rPr>
              <a:t>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3600">
                <a:solidFill>
                  <a:schemeClr val="accent1"/>
                </a:solidFill>
              </a:rPr>
              <a:t>Stöd och behandling</a:t>
            </a:r>
            <a:endParaRPr lang="sv-SE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0-10-02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 dirty="0"/>
              <a:t>Länkar till inloggningssidorna för Stöd och behandling och Designverktyge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221563" y="2165682"/>
            <a:ext cx="10962993" cy="318596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Nya inera.se 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Info på Förvaltningens informationssida om direktlänkar till Stöd och behandling samt Designverkty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142623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1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Inf</a:t>
            </a:r>
            <a:r>
              <a:rPr lang="sv-SE" sz="2000" b="1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b="1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330985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54E6E06-7328-4D4D-A388-7A735F4D8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Sobcast # 29  Digital tillgänglighe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6808F2-0099-49E3-BA1A-62F951529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995146"/>
          </a:xfrm>
        </p:spPr>
        <p:txBody>
          <a:bodyPr/>
          <a:lstStyle/>
          <a:p>
            <a:r>
              <a:rPr lang="sv-SE" dirty="0"/>
              <a:t>Fredag 16 oktober kl.14.00 – inbjudan har skickats ut via Outlook och kommer att ske via Teams</a:t>
            </a:r>
          </a:p>
          <a:p>
            <a:r>
              <a:rPr lang="sv-SE" dirty="0"/>
              <a:t>Vi kommer att få en genomgång av den tillgänglighetsredogörelse som finns för Stöd och behandling.</a:t>
            </a:r>
          </a:p>
          <a:p>
            <a:r>
              <a:rPr lang="sv-SE" dirty="0"/>
              <a:t>Vi kommer också titta på möjligheter och arbetssätt som kan vara ett stöd i arbetet med  att uppfylla kraven ställda i lagen om tillgänglighet till digital offentlig service.</a:t>
            </a:r>
          </a:p>
          <a:p>
            <a:r>
              <a:rPr lang="sv-SE" dirty="0"/>
              <a:t>Att skapa tillgängliga tjänster handlar mycket om att få in tillgänglighetsaspekter som en naturlig del av arbetet och om att ta in andras perspektiv.</a:t>
            </a:r>
          </a:p>
          <a:p>
            <a:endParaRPr lang="sv-SE" dirty="0"/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 algn="ctr">
              <a:buNone/>
            </a:pPr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885CB33-3C3B-453B-A238-B373D3F4E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176423D-696A-4A4B-A178-5C5069D9F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F155A8-5C6D-4241-95DF-81E4F2B16EE5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727A185-80E6-43A4-A370-FC4C4D5EF7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38289" y="3671450"/>
            <a:ext cx="2747280" cy="23137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5424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3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Inf</a:t>
            </a:r>
            <a:r>
              <a:rPr lang="sv-SE" sz="2000" b="1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b="1" dirty="0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55839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 dirty="0"/>
              <a:t>Projektet FLDV - Första linjens digitala vård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4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Projektet  har presenterats på Användarforum för 1177 Vårdguidens </a:t>
            </a:r>
            <a:r>
              <a:rPr lang="sv-SE" sz="2000" dirty="0" err="1">
                <a:ea typeface="+mn-lt"/>
                <a:cs typeface="+mn-lt"/>
              </a:rPr>
              <a:t>e-tjänster</a:t>
            </a:r>
            <a:r>
              <a:rPr lang="sv-SE" sz="2000" dirty="0">
                <a:ea typeface="+mn-lt"/>
                <a:cs typeface="+mn-lt"/>
              </a:rPr>
              <a:t> 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Hur berör det oss? Bland annat: </a:t>
            </a:r>
            <a:br>
              <a:rPr lang="sv-SE" sz="2000" dirty="0">
                <a:ea typeface="+mn-lt"/>
                <a:cs typeface="+mn-lt"/>
              </a:rPr>
            </a:br>
            <a:r>
              <a:rPr lang="sv-SE" sz="2000" dirty="0">
                <a:ea typeface="+mn-lt"/>
                <a:cs typeface="+mn-lt"/>
              </a:rPr>
              <a:t>	Uppdrag driftstabiliserande åtgärder Stöd och behandling</a:t>
            </a:r>
            <a:br>
              <a:rPr lang="sv-SE" sz="2000" dirty="0">
                <a:ea typeface="+mn-lt"/>
                <a:cs typeface="+mn-lt"/>
              </a:rPr>
            </a:br>
            <a:r>
              <a:rPr lang="sv-SE" sz="2000" dirty="0">
                <a:ea typeface="+mn-lt"/>
                <a:cs typeface="+mn-lt"/>
              </a:rPr>
              <a:t>	Uppdraget Sammanhållen planering</a:t>
            </a:r>
            <a:br>
              <a:rPr lang="sv-SE" sz="2000" dirty="0">
                <a:ea typeface="+mn-lt"/>
                <a:cs typeface="+mn-lt"/>
              </a:rPr>
            </a:br>
            <a:br>
              <a:rPr lang="sv-SE" sz="2000" dirty="0">
                <a:ea typeface="+mn-lt"/>
                <a:cs typeface="+mn-lt"/>
              </a:rPr>
            </a:b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örslag: Presentation av hela projektet vid ett kommande Användarforum för</a:t>
            </a:r>
          </a:p>
          <a:p>
            <a:r>
              <a:rPr lang="sv-SE" sz="2000" dirty="0">
                <a:ea typeface="+mn-lt"/>
                <a:cs typeface="+mn-lt"/>
              </a:rPr>
              <a:t>	Stöd och behandling</a:t>
            </a:r>
            <a:br>
              <a:rPr lang="sv-SE" dirty="0"/>
            </a:b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276257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168" y="307375"/>
            <a:ext cx="10987791" cy="1703670"/>
          </a:xfrm>
        </p:spPr>
        <p:txBody>
          <a:bodyPr/>
          <a:lstStyle/>
          <a:p>
            <a:pPr algn="l" fontAlgn="ctr"/>
            <a:r>
              <a:rPr lang="sv-SE" sz="4000" dirty="0"/>
              <a:t>Projektet FLDV - Första linjens digitala vård – </a:t>
            </a:r>
            <a:br>
              <a:rPr lang="sv-SE" sz="4000" dirty="0"/>
            </a:br>
            <a:r>
              <a:rPr lang="sv-SE" sz="2800" dirty="0"/>
              <a:t>förslag till utveckling med lansering senast feb 2021 inom uppdraget sammanhållen plane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5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lvl="0"/>
            <a:endParaRPr lang="sv-SE" sz="2000" dirty="0">
              <a:ea typeface="+mn-lt"/>
              <a:cs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örbättrad startsida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Lyfter fram Stöd och behandling och vårdplan cancer &amp; möjlighet att skapa favoriter</a:t>
            </a:r>
          </a:p>
          <a:p>
            <a:pPr lvl="0"/>
            <a:endParaRPr lang="sv-SE" sz="2000" dirty="0">
              <a:ea typeface="+mn-lt"/>
              <a:cs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Navigationsbar som förenklar navigation mellan inloggade nationella </a:t>
            </a:r>
            <a:r>
              <a:rPr lang="sv-SE" sz="2000" dirty="0" err="1">
                <a:ea typeface="+mn-lt"/>
                <a:cs typeface="+mn-lt"/>
              </a:rPr>
              <a:t>e-tjänster</a:t>
            </a:r>
            <a:r>
              <a:rPr lang="sv-SE" sz="2000" dirty="0">
                <a:ea typeface="+mn-lt"/>
                <a:cs typeface="+mn-lt"/>
              </a:rPr>
              <a:t> </a:t>
            </a:r>
          </a:p>
          <a:p>
            <a:pPr lvl="0"/>
            <a:endParaRPr lang="sv-SE" sz="2000" dirty="0">
              <a:ea typeface="+mn-lt"/>
              <a:cs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Ombudstjänst i Stöd och behandlingsplattform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Möjliggör för vårdnadshavare att agera ombud för barn 0-12 år med möjlighet </a:t>
            </a:r>
          </a:p>
          <a:p>
            <a:pPr lvl="1"/>
            <a:r>
              <a:rPr lang="sv-SE" sz="2000" dirty="0">
                <a:ea typeface="+mn-lt"/>
                <a:cs typeface="+mn-lt"/>
              </a:rPr>
              <a:t>	för vården att spärra vid behov. Vårdnadshavare har en viktig roll för att stödja </a:t>
            </a:r>
          </a:p>
          <a:p>
            <a:pPr lvl="1"/>
            <a:r>
              <a:rPr lang="sv-SE" sz="2000" dirty="0">
                <a:ea typeface="+mn-lt"/>
                <a:cs typeface="+mn-lt"/>
              </a:rPr>
              <a:t>	barn som t ex har en vårdplan eller annan </a:t>
            </a:r>
            <a:r>
              <a:rPr lang="sv-SE" sz="2000">
                <a:ea typeface="+mn-lt"/>
                <a:cs typeface="+mn-lt"/>
              </a:rPr>
              <a:t>behandling.</a:t>
            </a:r>
            <a:endParaRPr lang="sv-SE" sz="20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679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6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Inf</a:t>
            </a:r>
            <a:r>
              <a:rPr lang="sv-SE" sz="2000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dirty="0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296831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7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Inf</a:t>
            </a:r>
            <a:r>
              <a:rPr lang="sv-SE" sz="2000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50694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nmälda frågo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8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765990" y="1836018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47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98CC98-26D1-42F0-87D4-2E3B8705B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/>
              <a:t>Höstens kommande Användarforu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E215758-AD04-4783-8B7A-EA30D128D1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038" y="1950127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endParaRPr lang="sv-SE" dirty="0"/>
          </a:p>
          <a:p>
            <a:r>
              <a:rPr lang="sv-SE" dirty="0"/>
              <a:t>23 oktober</a:t>
            </a:r>
          </a:p>
          <a:p>
            <a:pPr lvl="1"/>
            <a:r>
              <a:rPr lang="sv-SE" dirty="0" err="1"/>
              <a:t>LoA</a:t>
            </a:r>
            <a:r>
              <a:rPr lang="sv-SE" dirty="0"/>
              <a:t> </a:t>
            </a:r>
            <a:r>
              <a:rPr lang="sv-SE" dirty="0">
                <a:ea typeface="+mn-lt"/>
                <a:cs typeface="+mn-lt"/>
              </a:rPr>
              <a:t>SITHS eID med LoA3 från den 9 december 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r>
              <a:rPr lang="sv-SE" dirty="0"/>
              <a:t>27 november </a:t>
            </a:r>
          </a:p>
          <a:p>
            <a:pPr lvl="1"/>
            <a:r>
              <a:rPr lang="sv-SE"/>
              <a:t>Namnstandard för moment (Skåne)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6871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B3CAC4E-845C-4464-A04D-C4DB3DE46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4713"/>
          </a:xfrm>
        </p:spPr>
        <p:txBody>
          <a:bodyPr/>
          <a:lstStyle/>
          <a:p>
            <a:pPr algn="ctr"/>
            <a:r>
              <a:rPr lang="en-US" dirty="0"/>
              <a:t>Innan vi börjar…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993CAB1-87C1-455A-819E-ACEEB2937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130280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Stäng av er kamera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Var med live eller i chatten.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Se till att din mikrofon är avstängd, förutom när du vill säga något.</a:t>
            </a:r>
            <a:br>
              <a:rPr lang="sv-SE" dirty="0"/>
            </a:br>
            <a:r>
              <a:rPr lang="sv-SE" dirty="0"/>
              <a:t>Om du vill prata, glöm inte att inleda med att presentera dig med namn samt region. </a:t>
            </a:r>
          </a:p>
          <a:p>
            <a:pPr>
              <a:buFont typeface="Wingdings" panose="05000000000000000000" pitchFamily="2" charset="2"/>
              <a:buChar char="ü"/>
            </a:pPr>
            <a:endParaRPr lang="sv-SE" dirty="0"/>
          </a:p>
          <a:p>
            <a:pPr>
              <a:buFont typeface="Wingdings" panose="05000000000000000000" pitchFamily="2" charset="2"/>
              <a:buChar char="ü"/>
            </a:pPr>
            <a:r>
              <a:rPr lang="sv-SE" dirty="0"/>
              <a:t>Användarforumet spelas in och läggs på Förvaltningens informationssida</a:t>
            </a:r>
            <a:endParaRPr lang="en-US" dirty="0"/>
          </a:p>
        </p:txBody>
      </p:sp>
      <p:pic>
        <p:nvPicPr>
          <p:cNvPr id="5" name="Bild 4" descr="Poddsändning">
            <a:extLst>
              <a:ext uri="{FF2B5EF4-FFF2-40B4-BE49-F238E27FC236}">
                <a16:creationId xmlns:a16="http://schemas.microsoft.com/office/drawing/2014/main" id="{BBECEADC-8CA8-4164-849C-07EB5F4D1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82879" y="3944758"/>
            <a:ext cx="819364" cy="819364"/>
          </a:xfrm>
          <a:prstGeom prst="rect">
            <a:avLst/>
          </a:prstGeom>
        </p:spPr>
      </p:pic>
      <p:pic>
        <p:nvPicPr>
          <p:cNvPr id="6" name="Bild 5" descr="Videokamera">
            <a:extLst>
              <a:ext uri="{FF2B5EF4-FFF2-40B4-BE49-F238E27FC236}">
                <a16:creationId xmlns:a16="http://schemas.microsoft.com/office/drawing/2014/main" id="{444986D8-15ED-4B88-BCA7-52BCC50FBD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82879" y="1531312"/>
            <a:ext cx="819364" cy="819364"/>
          </a:xfrm>
          <a:prstGeom prst="rect">
            <a:avLst/>
          </a:prstGeom>
        </p:spPr>
      </p:pic>
      <p:pic>
        <p:nvPicPr>
          <p:cNvPr id="10" name="Bild 9" descr="Marknadsföring">
            <a:extLst>
              <a:ext uri="{FF2B5EF4-FFF2-40B4-BE49-F238E27FC236}">
                <a16:creationId xmlns:a16="http://schemas.microsoft.com/office/drawing/2014/main" id="{B8FB716B-E4DE-4BFB-A4CA-29452ECD36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82879" y="2747342"/>
            <a:ext cx="832468" cy="832468"/>
          </a:xfrm>
          <a:prstGeom prst="rect">
            <a:avLst/>
          </a:prstGeom>
        </p:spPr>
      </p:pic>
      <p:pic>
        <p:nvPicPr>
          <p:cNvPr id="20" name="Bild 19" descr="Bock">
            <a:extLst>
              <a:ext uri="{FF2B5EF4-FFF2-40B4-BE49-F238E27FC236}">
                <a16:creationId xmlns:a16="http://schemas.microsoft.com/office/drawing/2014/main" id="{B4533BC8-CB80-4FA1-9CB7-461589A7AD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2880" y="1531312"/>
            <a:ext cx="832467" cy="83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021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28D93B-810B-4496-B5A7-8067431BE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40043"/>
            <a:ext cx="10515600" cy="4588041"/>
          </a:xfrm>
        </p:spPr>
        <p:txBody>
          <a:bodyPr/>
          <a:lstStyle/>
          <a:p>
            <a:r>
              <a:rPr lang="sv-SE"/>
              <a:t>Tack för er uppmärksamhet!</a:t>
            </a:r>
            <a:br>
              <a:rPr lang="sv-SE"/>
            </a:b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Finns det fördjupningsområde ni är intresserade av att höra om, </a:t>
            </a: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skicka ett ärende till supporten och tagga med ”Användarforum”</a:t>
            </a:r>
            <a:endParaRPr lang="sv-SE">
              <a:latin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485EB-416D-41A4-8A24-F8A094637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576C32-35B8-4D1C-9C86-5C58C6FF8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6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Syfte: Koordinera och samla in behov samt kanal för informations- och erfarenhetsutbyte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831772"/>
            <a:ext cx="10517780" cy="351987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sv-SE" sz="2000" b="1" dirty="0"/>
              <a:t>Agenda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Information från förvaltningen</a:t>
            </a:r>
          </a:p>
          <a:p>
            <a:pPr marL="800100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 </a:t>
            </a:r>
            <a:endParaRPr lang="sv-SE" dirty="0">
              <a:ea typeface="+mn-lt"/>
              <a:cs typeface="+mn-lt"/>
            </a:endParaRPr>
          </a:p>
          <a:p>
            <a:pPr marL="800100" lvl="1" indent="-342900">
              <a:buFont typeface="Arial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 2021</a:t>
            </a:r>
            <a:endParaRPr lang="sv-SE" dirty="0"/>
          </a:p>
          <a:p>
            <a:pPr marL="800100" lvl="1" indent="-342900">
              <a:buFont typeface="Arial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  <a:endParaRPr lang="sv-SE" dirty="0"/>
          </a:p>
          <a:p>
            <a:pPr marL="800100" lvl="1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  <a:endParaRPr lang="sv-SE" dirty="0"/>
          </a:p>
          <a:p>
            <a:pPr marL="800100" lvl="1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  <a:endParaRPr lang="sv-SE"/>
          </a:p>
          <a:p>
            <a:pPr>
              <a:buFont typeface="Arial" panose="020B0604020202020204" pitchFamily="34" charset="0"/>
              <a:buChar char="•"/>
            </a:pPr>
            <a:endParaRPr lang="sv-SE" sz="2000" dirty="0"/>
          </a:p>
          <a:p>
            <a:pPr marL="342900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  <a:endParaRPr lang="sv-SE" dirty="0">
              <a:ea typeface="+mn-lt"/>
              <a:cs typeface="+mn-lt"/>
            </a:endParaRPr>
          </a:p>
          <a:p>
            <a:pPr marL="800100" lvl="1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  <a:endParaRPr lang="sv-SE">
              <a:ea typeface="+mn-lt"/>
              <a:cs typeface="+mn-lt"/>
            </a:endParaRPr>
          </a:p>
          <a:p>
            <a:pPr marL="800100" lvl="1" indent="-342900">
              <a:buFont typeface="Arial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  <a:endParaRPr lang="sv-SE" dirty="0">
              <a:ea typeface="+mn-lt"/>
              <a:cs typeface="+mn-lt"/>
            </a:endParaRPr>
          </a:p>
          <a:p>
            <a:pPr marL="800100" lvl="1" indent="-342900">
              <a:buFont typeface="Arial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 rapport</a:t>
            </a:r>
            <a:endParaRPr lang="sv-SE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135154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Inf</a:t>
            </a:r>
            <a:r>
              <a:rPr lang="sv-SE" sz="2000" b="1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b="1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Kommunikationsväga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85026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F854DF0B-4F01-4048-9FFA-11745AB7CC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</p:spPr>
        <p:txBody>
          <a:bodyPr/>
          <a:lstStyle/>
          <a:p>
            <a:r>
              <a:rPr lang="en-US" dirty="0" err="1"/>
              <a:t>Kommunikationsvägar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245A2747-7EE6-43DA-ADEE-D5F5B8D729B4}"/>
              </a:ext>
            </a:extLst>
          </p:cNvPr>
          <p:cNvSpPr txBox="1"/>
          <p:nvPr/>
        </p:nvSpPr>
        <p:spPr>
          <a:xfrm>
            <a:off x="5423338" y="1894979"/>
            <a:ext cx="5958536" cy="356452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50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>
                <a:solidFill>
                  <a:schemeClr val="accent2"/>
                </a:solidFill>
              </a:rPr>
              <a:t>Vår kommunikationsväg är Förvaltningens informationssida</a:t>
            </a:r>
          </a:p>
          <a:p>
            <a:pPr marL="800100" lvl="1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>
                <a:solidFill>
                  <a:schemeClr val="accent2"/>
                </a:solidFill>
              </a:rPr>
              <a:t>Senaste versionen av webbläsare </a:t>
            </a:r>
          </a:p>
          <a:p>
            <a:pPr marL="800100" lvl="1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>
                <a:solidFill>
                  <a:schemeClr val="accent2"/>
                </a:solidFill>
              </a:rPr>
              <a:t>Statusrapportering </a:t>
            </a:r>
          </a:p>
          <a:p>
            <a:pPr marL="742950" lvl="1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sv-SE">
              <a:solidFill>
                <a:schemeClr val="accent2"/>
              </a:solidFill>
            </a:endParaRPr>
          </a:p>
          <a:p>
            <a:pPr marL="742950" lvl="1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sv-SE">
              <a:solidFill>
                <a:schemeClr val="accent2"/>
              </a:solidFill>
            </a:endParaRPr>
          </a:p>
          <a:p>
            <a:pPr marL="285750" indent="-2286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>
                <a:solidFill>
                  <a:schemeClr val="accent2"/>
                </a:solidFill>
                <a:hlinkClick r:id="rId2"/>
              </a:rPr>
              <a:t>Prenumerera på nyhetsbrev</a:t>
            </a:r>
            <a:r>
              <a:rPr lang="sv-SE">
                <a:solidFill>
                  <a:schemeClr val="accent2"/>
                </a:solidFill>
              </a:rPr>
              <a:t> för andra tjänster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2F026824-1FB9-4513-9B4F-DA27F6001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76721" y="6311994"/>
            <a:ext cx="390055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7FF155A8-5C6D-4241-95DF-81E4F2B16EE5}" type="slidenum">
              <a:rPr lang="sv-SE" smtClean="0"/>
              <a:pPr>
                <a:spcAft>
                  <a:spcPts val="600"/>
                </a:spcAft>
              </a:pPr>
              <a:t>5</a:t>
            </a:fld>
            <a:endParaRPr lang="sv-SE"/>
          </a:p>
        </p:txBody>
      </p:sp>
      <p:pic>
        <p:nvPicPr>
          <p:cNvPr id="12" name="Bildobjekt 12" descr="En bild som visar text&#10;&#10;Automatiskt genererad beskrivning">
            <a:extLst>
              <a:ext uri="{FF2B5EF4-FFF2-40B4-BE49-F238E27FC236}">
                <a16:creationId xmlns:a16="http://schemas.microsoft.com/office/drawing/2014/main" id="{B7781482-13FC-441D-BAB4-AADAA5D09C7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4327" r="-1" b="5405"/>
          <a:stretch/>
        </p:blipFill>
        <p:spPr>
          <a:xfrm>
            <a:off x="419568" y="1327898"/>
            <a:ext cx="4625507" cy="4471987"/>
          </a:xfrm>
          <a:noFill/>
        </p:spPr>
      </p:pic>
    </p:spTree>
    <p:extLst>
      <p:ext uri="{BB962C8B-B14F-4D97-AF65-F5344CB8AC3E}">
        <p14:creationId xmlns:p14="http://schemas.microsoft.com/office/powerpoint/2010/main" val="167863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6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Inf</a:t>
            </a:r>
            <a:r>
              <a:rPr lang="sv-SE" sz="2000" b="1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b="1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</a:t>
            </a:r>
            <a:r>
              <a:rPr lang="sv-SE" sz="2000" b="1" dirty="0">
                <a:ea typeface="+mn-lt"/>
                <a:cs typeface="+mn-lt"/>
              </a:rPr>
              <a:t>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b="1" dirty="0" err="1">
                <a:ea typeface="+mn-lt"/>
                <a:cs typeface="+mn-lt"/>
              </a:rPr>
              <a:t>Roadmap</a:t>
            </a:r>
            <a:r>
              <a:rPr lang="sv-SE" sz="2000" b="1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LoA</a:t>
            </a:r>
            <a:r>
              <a:rPr lang="sv-SE" sz="2000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68921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 dirty="0"/>
              <a:t>Vad händer framåt?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Budgeten är ännu inte fastställd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Siktar och hoppas på nya invånarvyer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  <p:pic>
        <p:nvPicPr>
          <p:cNvPr id="10" name="Bildobjekt 12">
            <a:extLst>
              <a:ext uri="{FF2B5EF4-FFF2-40B4-BE49-F238E27FC236}">
                <a16:creationId xmlns:a16="http://schemas.microsoft.com/office/drawing/2014/main" id="{050CD253-2A8F-4DD1-B109-101B166715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327" r="-1" b="5405"/>
          <a:stretch/>
        </p:blipFill>
        <p:spPr>
          <a:xfrm>
            <a:off x="5452769" y="2168338"/>
            <a:ext cx="935251" cy="1087811"/>
          </a:xfrm>
          <a:prstGeom prst="roundRect">
            <a:avLst>
              <a:gd name="adj" fmla="val 1369"/>
            </a:avLst>
          </a:prstGeom>
          <a:noFill/>
        </p:spPr>
      </p:pic>
      <p:sp>
        <p:nvSpPr>
          <p:cNvPr id="11" name="Multiplikationstecken 10">
            <a:extLst>
              <a:ext uri="{FF2B5EF4-FFF2-40B4-BE49-F238E27FC236}">
                <a16:creationId xmlns:a16="http://schemas.microsoft.com/office/drawing/2014/main" id="{0C1A7F17-39E4-4ED9-8D35-130092C61C5C}"/>
              </a:ext>
            </a:extLst>
          </p:cNvPr>
          <p:cNvSpPr/>
          <p:nvPr/>
        </p:nvSpPr>
        <p:spPr>
          <a:xfrm>
            <a:off x="5313830" y="2299447"/>
            <a:ext cx="1205753" cy="1015253"/>
          </a:xfrm>
          <a:prstGeom prst="mathMultiply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259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711907"/>
            <a:ext cx="10517780" cy="3639738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Inf</a:t>
            </a:r>
            <a:r>
              <a:rPr lang="sv-SE" sz="2000" b="1" dirty="0">
                <a:solidFill>
                  <a:srgbClr val="000000"/>
                </a:solidFill>
                <a:ea typeface="+mn-lt"/>
                <a:cs typeface="+mn-lt"/>
              </a:rPr>
              <a:t>ormation från förvaltningen</a:t>
            </a:r>
            <a:endParaRPr lang="en-US" sz="2000" b="1">
              <a:solidFill>
                <a:srgbClr val="000000"/>
              </a:solidFill>
              <a:ea typeface="+mn-lt"/>
              <a:cs typeface="+mn-lt"/>
            </a:endParaRPr>
          </a:p>
          <a:p>
            <a:pPr marL="8001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unikationsvägar</a:t>
            </a:r>
            <a:r>
              <a:rPr lang="sv-SE" sz="2000" b="1" dirty="0">
                <a:ea typeface="+mn-lt"/>
                <a:cs typeface="+mn-lt"/>
              </a:rPr>
              <a:t>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Roadmap</a:t>
            </a:r>
            <a:r>
              <a:rPr lang="sv-SE" sz="2000" dirty="0">
                <a:ea typeface="+mn-lt"/>
                <a:cs typeface="+mn-lt"/>
              </a:rPr>
              <a:t> 2021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b="1" dirty="0" err="1">
                <a:ea typeface="+mn-lt"/>
                <a:cs typeface="+mn-lt"/>
              </a:rPr>
              <a:t>LoA</a:t>
            </a:r>
            <a:r>
              <a:rPr lang="sv-SE" sz="2000" b="1" dirty="0">
                <a:ea typeface="+mn-lt"/>
                <a:cs typeface="+mn-lt"/>
              </a:rPr>
              <a:t> – SITHS eID med LoA3 från den 9 december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mmande SOBCAST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FLDV och Sammanhållen plan  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342900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KR och kompetensgruppen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tt ta fram en process för att utarbeta kvalitetssäkrade program  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Kontakt med kunskapsstyrningen i era regioner </a:t>
            </a:r>
          </a:p>
          <a:p>
            <a:pPr marL="800100" lvl="1" indent="-342900">
              <a:buFont typeface="Arial,Sans-Serif" panose="020B0604020202020204" pitchFamily="34" charset="0"/>
              <a:buChar char="•"/>
            </a:pPr>
            <a:r>
              <a:rPr lang="sv-SE" sz="2000" dirty="0" err="1">
                <a:ea typeface="+mn-lt"/>
                <a:cs typeface="+mn-lt"/>
              </a:rPr>
              <a:t>Bearingpoints</a:t>
            </a:r>
            <a:r>
              <a:rPr lang="sv-SE" sz="2000" dirty="0">
                <a:ea typeface="+mn-lt"/>
                <a:cs typeface="+mn-lt"/>
              </a:rPr>
              <a:t> rapport</a:t>
            </a: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Anmälda frågor</a:t>
            </a:r>
            <a:endParaRPr lang="en-US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b="1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sv-SE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127342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 dirty="0" err="1"/>
              <a:t>LoA</a:t>
            </a:r>
            <a:r>
              <a:rPr lang="sv-SE" sz="4000" dirty="0"/>
              <a:t> – SITHS eID med LoA3 från den 9 december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156636" y="1376127"/>
            <a:ext cx="12035364" cy="4771176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spcBef>
                <a:spcPts val="1200"/>
              </a:spcBef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töd och behandling -&gt;LoA3 från den 9 december 2020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Designverktyget -&gt; LoA2 och LoA3 från den 9 december 2020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>
              <a:ea typeface="+mn-lt"/>
              <a:cs typeface="+mn-lt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/>
              <a:t>LoA3 är SITHS nya och säkrare certifikat som uppfyller kraven enligt kvalitetsmärket Svensk e-legitimation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b="1" dirty="0">
                <a:ea typeface="+mn-lt"/>
                <a:cs typeface="+mn-lt"/>
              </a:rPr>
              <a:t>VIKTIGT</a:t>
            </a:r>
            <a:r>
              <a:rPr lang="sv-SE" sz="2000" dirty="0">
                <a:ea typeface="+mn-lt"/>
                <a:cs typeface="+mn-lt"/>
              </a:rPr>
              <a:t> att man </a:t>
            </a:r>
            <a:r>
              <a:rPr lang="sv-SE" sz="2000" dirty="0" err="1">
                <a:ea typeface="+mn-lt"/>
                <a:cs typeface="+mn-lt"/>
              </a:rPr>
              <a:t>distansuppgraderar</a:t>
            </a:r>
            <a:r>
              <a:rPr lang="sv-SE" sz="2000" dirty="0">
                <a:ea typeface="+mn-lt"/>
                <a:cs typeface="+mn-lt"/>
              </a:rPr>
              <a:t> sitt SITHS-kort i god tid innan den 9 december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Länkar till bra information om hur man gör </a:t>
            </a:r>
          </a:p>
          <a:p>
            <a:r>
              <a:rPr lang="sv-SE" sz="2000" dirty="0">
                <a:ea typeface="+mn-lt"/>
                <a:cs typeface="+mn-lt"/>
              </a:rPr>
              <a:t>	</a:t>
            </a:r>
            <a:r>
              <a:rPr lang="sv-SE" sz="2000" dirty="0">
                <a:ea typeface="+mn-lt"/>
                <a:cs typeface="+mn-lt"/>
                <a:hlinkClick r:id="rId2"/>
              </a:rPr>
              <a:t>https://www.inera.se/nyheter/nyheter/regioner-och-kommuner-kan-spara-miljontals</a:t>
            </a:r>
            <a:br>
              <a:rPr lang="sv-SE" sz="2000" dirty="0">
                <a:ea typeface="+mn-lt"/>
                <a:cs typeface="+mn-lt"/>
              </a:rPr>
            </a:br>
            <a:r>
              <a:rPr lang="sv-SE" sz="2000" dirty="0">
                <a:ea typeface="+mn-lt"/>
                <a:cs typeface="+mn-lt"/>
              </a:rPr>
              <a:t>	-kronor-</a:t>
            </a:r>
            <a:r>
              <a:rPr lang="sv-SE" sz="2000" dirty="0" err="1">
                <a:ea typeface="+mn-lt"/>
                <a:cs typeface="+mn-lt"/>
              </a:rPr>
              <a:t>pa</a:t>
            </a:r>
            <a:r>
              <a:rPr lang="sv-SE" sz="2000" dirty="0">
                <a:ea typeface="+mn-lt"/>
                <a:cs typeface="+mn-lt"/>
              </a:rPr>
              <a:t>-att-distansuppgradera-sina-</a:t>
            </a:r>
            <a:r>
              <a:rPr lang="sv-SE" sz="2000" dirty="0" err="1">
                <a:ea typeface="+mn-lt"/>
                <a:cs typeface="+mn-lt"/>
              </a:rPr>
              <a:t>siths</a:t>
            </a:r>
            <a:r>
              <a:rPr lang="sv-SE" sz="2000" dirty="0">
                <a:ea typeface="+mn-lt"/>
                <a:cs typeface="+mn-lt"/>
              </a:rPr>
              <a:t>-kort/</a:t>
            </a:r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sv-SE" sz="2000" dirty="0" err="1"/>
              <a:t>Reservkort</a:t>
            </a:r>
            <a:r>
              <a:rPr lang="sv-SE" sz="2000" dirty="0"/>
              <a:t> kommer uppfylla LoA3-krav </a:t>
            </a:r>
          </a:p>
          <a:p>
            <a:r>
              <a:rPr lang="sv-SE" sz="2000" dirty="0"/>
              <a:t>	</a:t>
            </a:r>
            <a:r>
              <a:rPr lang="sv-SE" sz="2000" dirty="0">
                <a:hlinkClick r:id="rId3"/>
              </a:rPr>
              <a:t>https://www.inera.se/nyheter/nyheter/siths-reservkort-loa3-kommer-i-host/</a:t>
            </a:r>
            <a:endParaRPr lang="sv-SE" sz="2000" dirty="0"/>
          </a:p>
          <a:p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+mn-lt"/>
                <a:cs typeface="+mn-lt"/>
              </a:rPr>
              <a:t>Status i regionerna?</a:t>
            </a:r>
          </a:p>
          <a:p>
            <a:endParaRPr lang="sv-SE" sz="2000" dirty="0"/>
          </a:p>
          <a:p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,Sans-Serif" panose="020B0604020202020204" pitchFamily="34" charset="0"/>
              <a:buChar char="•"/>
            </a:pPr>
            <a:endParaRPr lang="sv-S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 dirty="0"/>
          </a:p>
        </p:txBody>
      </p:sp>
    </p:spTree>
    <p:extLst>
      <p:ext uri="{BB962C8B-B14F-4D97-AF65-F5344CB8AC3E}">
        <p14:creationId xmlns:p14="http://schemas.microsoft.com/office/powerpoint/2010/main" val="49669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1_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9" ma:contentTypeDescription="Skapa ett nytt dokument." ma:contentTypeScope="" ma:versionID="a980f67f77fe65476dc5d14893b72326">
  <xsd:schema xmlns:xsd="http://www.w3.org/2001/XMLSchema" xmlns:xs="http://www.w3.org/2001/XMLSchema" xmlns:p="http://schemas.microsoft.com/office/2006/metadata/properties" xmlns:ns2="69252be8-17ef-4408-949c-5e7cc87314a9" targetNamespace="http://schemas.microsoft.com/office/2006/metadata/properties" ma:root="true" ma:fieldsID="63638b71a950e2c72af3fec150b48d75" ns2:_="">
    <xsd:import namespace="69252be8-17ef-4408-949c-5e7cc8731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068680-729C-46D7-81EE-A3EC47914E3B}">
  <ds:schemaRefs>
    <ds:schemaRef ds:uri="69252be8-17ef-4408-949c-5e7cc87314a9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A60F91-87FE-4C1F-BCE2-459553F32B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52be8-17ef-4408-949c-5e7cc87314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</TotalTime>
  <Words>920</Words>
  <Application>Microsoft Office PowerPoint</Application>
  <PresentationFormat>Bredbild</PresentationFormat>
  <Paragraphs>231</Paragraphs>
  <Slides>2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Bildrubriker</vt:lpstr>
      </vt:variant>
      <vt:variant>
        <vt:i4>21</vt:i4>
      </vt:variant>
    </vt:vector>
  </HeadingPairs>
  <TitlesOfParts>
    <vt:vector size="23" baseType="lpstr">
      <vt:lpstr>1177 Vårguiden</vt:lpstr>
      <vt:lpstr>1_1177 Vårguiden</vt:lpstr>
      <vt:lpstr>Användarforum    Stöd och behandling</vt:lpstr>
      <vt:lpstr>Innan vi börjar….</vt:lpstr>
      <vt:lpstr>Syfte: Koordinera och samla in behov samt kanal för informations- och erfarenhetsutbyte </vt:lpstr>
      <vt:lpstr>Agenda</vt:lpstr>
      <vt:lpstr>Kommunikationsvägar</vt:lpstr>
      <vt:lpstr>Agenda</vt:lpstr>
      <vt:lpstr>Vad händer framåt?</vt:lpstr>
      <vt:lpstr>Agenda</vt:lpstr>
      <vt:lpstr>LoA – SITHS eID med LoA3 från den 9 december </vt:lpstr>
      <vt:lpstr>Länkar till inloggningssidorna för Stöd och behandling och Designverktyget</vt:lpstr>
      <vt:lpstr>Agenda</vt:lpstr>
      <vt:lpstr>Sobcast # 29  Digital tillgänglighet</vt:lpstr>
      <vt:lpstr>Agenda</vt:lpstr>
      <vt:lpstr>Projektet FLDV - Första linjens digitala vård </vt:lpstr>
      <vt:lpstr>Projektet FLDV - Första linjens digitala vård –  förslag till utveckling med lansering senast feb 2021 inom uppdraget sammanhållen planering</vt:lpstr>
      <vt:lpstr>Agenda</vt:lpstr>
      <vt:lpstr>Agenda</vt:lpstr>
      <vt:lpstr>Anmälda frågor</vt:lpstr>
      <vt:lpstr>Höstens kommande Användarforum</vt:lpstr>
      <vt:lpstr>Tack för er uppmärksamhet!  Finns det fördjupningsområde ni är intresserade av att höra om,  skicka ett ärende till supporten och tagga med ”Användarforum”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Jonsson Åsa</cp:lastModifiedBy>
  <cp:revision>274</cp:revision>
  <dcterms:created xsi:type="dcterms:W3CDTF">2019-08-13T08:23:18Z</dcterms:created>
  <dcterms:modified xsi:type="dcterms:W3CDTF">2020-10-02T09:1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</Properties>
</file>